
<file path=[Content_Types].xml><?xml version="1.0" encoding="utf-8"?>
<Types xmlns="http://schemas.openxmlformats.org/package/2006/content-types">
  <Default Extension="94FA7E20" ContentType="image/png"/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Override2.xml" ContentType="application/vnd.openxmlformats-officedocument.themeOverrid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Override3.xml" ContentType="application/vnd.openxmlformats-officedocument.themeOverrid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heme/themeOverride4.xml" ContentType="application/vnd.openxmlformats-officedocument.themeOverrid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Override5.xml" ContentType="application/vnd.openxmlformats-officedocument.themeOverrid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heme/themeOverride6.xml" ContentType="application/vnd.openxmlformats-officedocument.themeOverrid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10" r:id="rId1"/>
    <p:sldMasterId id="2147483750" r:id="rId2"/>
    <p:sldMasterId id="2147483766" r:id="rId3"/>
    <p:sldMasterId id="2147483815" r:id="rId4"/>
    <p:sldMasterId id="2147483840" r:id="rId5"/>
    <p:sldMasterId id="2147483859" r:id="rId6"/>
  </p:sldMasterIdLst>
  <p:notesMasterIdLst>
    <p:notesMasterId r:id="rId42"/>
  </p:notesMasterIdLst>
  <p:sldIdLst>
    <p:sldId id="2147308287" r:id="rId7"/>
    <p:sldId id="2147308302" r:id="rId8"/>
    <p:sldId id="2147308288" r:id="rId9"/>
    <p:sldId id="2147308334" r:id="rId10"/>
    <p:sldId id="2147308298" r:id="rId11"/>
    <p:sldId id="2147308303" r:id="rId12"/>
    <p:sldId id="2147308304" r:id="rId13"/>
    <p:sldId id="2134804551" r:id="rId14"/>
    <p:sldId id="2134804555" r:id="rId15"/>
    <p:sldId id="2134804562" r:id="rId16"/>
    <p:sldId id="2147308159" r:id="rId17"/>
    <p:sldId id="2147308224" r:id="rId18"/>
    <p:sldId id="259" r:id="rId19"/>
    <p:sldId id="2147308299" r:id="rId20"/>
    <p:sldId id="2147308300" r:id="rId21"/>
    <p:sldId id="2147308332" r:id="rId22"/>
    <p:sldId id="2147308333" r:id="rId23"/>
    <p:sldId id="2147308267" r:id="rId24"/>
    <p:sldId id="2134804568" r:id="rId25"/>
    <p:sldId id="2134804571" r:id="rId26"/>
    <p:sldId id="2147308271" r:id="rId27"/>
    <p:sldId id="2147308222" r:id="rId28"/>
    <p:sldId id="2147308306" r:id="rId29"/>
    <p:sldId id="2147308309" r:id="rId30"/>
    <p:sldId id="2147308331" r:id="rId31"/>
    <p:sldId id="2147308330" r:id="rId32"/>
    <p:sldId id="1169" r:id="rId33"/>
    <p:sldId id="2147308311" r:id="rId34"/>
    <p:sldId id="2147308312" r:id="rId35"/>
    <p:sldId id="2147308198" r:id="rId36"/>
    <p:sldId id="2147308201" r:id="rId37"/>
    <p:sldId id="2147308199" r:id="rId38"/>
    <p:sldId id="2147308200" r:id="rId39"/>
    <p:sldId id="2147308202" r:id="rId40"/>
    <p:sldId id="1462" r:id="rId41"/>
  </p:sldIdLst>
  <p:sldSz cx="12192000" cy="6858000"/>
  <p:notesSz cx="6797675" cy="9926638"/>
  <p:defaultTextStyle>
    <a:defPPr>
      <a:defRPr lang="it-IT"/>
    </a:defPPr>
    <a:lvl1pPr marL="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27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62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A0DEDCE3-999A-43B0-A98B-0A7F9F6239C9}">
          <p14:sldIdLst/>
        </p14:section>
        <p14:section name="Sezione predefinita" id="{116A12F7-B4FA-40BD-8AB8-4EDEF0E4931B}">
          <p14:sldIdLst>
            <p14:sldId id="2147308287"/>
            <p14:sldId id="2147308302"/>
            <p14:sldId id="2147308288"/>
            <p14:sldId id="2147308334"/>
            <p14:sldId id="2147308298"/>
            <p14:sldId id="2147308303"/>
            <p14:sldId id="2147308304"/>
            <p14:sldId id="2134804551"/>
            <p14:sldId id="2134804555"/>
            <p14:sldId id="2134804562"/>
            <p14:sldId id="2147308159"/>
            <p14:sldId id="2147308224"/>
            <p14:sldId id="259"/>
            <p14:sldId id="2147308299"/>
            <p14:sldId id="2147308300"/>
            <p14:sldId id="2147308332"/>
            <p14:sldId id="2147308333"/>
            <p14:sldId id="2147308267"/>
            <p14:sldId id="2134804568"/>
            <p14:sldId id="2134804571"/>
            <p14:sldId id="2147308271"/>
            <p14:sldId id="2147308222"/>
            <p14:sldId id="2147308306"/>
            <p14:sldId id="2147308309"/>
            <p14:sldId id="2147308331"/>
            <p14:sldId id="2147308330"/>
            <p14:sldId id="1169"/>
            <p14:sldId id="2147308311"/>
            <p14:sldId id="2147308312"/>
            <p14:sldId id="2147308198"/>
            <p14:sldId id="2147308201"/>
            <p14:sldId id="2147308199"/>
            <p14:sldId id="2147308200"/>
            <p14:sldId id="2147308202"/>
            <p14:sldId id="14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nica logozzo" initials="M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63D"/>
    <a:srgbClr val="7886AF"/>
    <a:srgbClr val="57617F"/>
    <a:srgbClr val="B9B9B9"/>
    <a:srgbClr val="4F81BD"/>
    <a:srgbClr val="FFDF79"/>
    <a:srgbClr val="7DC7FF"/>
    <a:srgbClr val="FFE181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Stile con tema 2 - Color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Stile chiaro 3 - Color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>
      <p:cViewPr varScale="1">
        <p:scale>
          <a:sx n="106" d="100"/>
          <a:sy n="106" d="100"/>
        </p:scale>
        <p:origin x="792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commentAuthors" Target="commentAuthors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slide" Target="slides/slide3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viluppate a scuola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Foglio1!$A$2:$A$5</c:f>
              <c:strCache>
                <c:ptCount val="4"/>
                <c:pt idx="0">
                  <c:v>lavorare in gruppo</c:v>
                </c:pt>
                <c:pt idx="1">
                  <c:v>senso di responsabilità</c:v>
                </c:pt>
                <c:pt idx="2">
                  <c:v>perseveranza negli ob.</c:v>
                </c:pt>
                <c:pt idx="3">
                  <c:v>motivazione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29-4B6C-9BD1-CD6994436182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svilluppate extra scuola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Foglio1!$A$2:$A$5</c:f>
              <c:strCache>
                <c:ptCount val="4"/>
                <c:pt idx="0">
                  <c:v>lavorare in gruppo</c:v>
                </c:pt>
                <c:pt idx="1">
                  <c:v>senso di responsabilità</c:v>
                </c:pt>
                <c:pt idx="2">
                  <c:v>perseveranza negli ob.</c:v>
                </c:pt>
                <c:pt idx="3">
                  <c:v>motivazione</c:v>
                </c:pt>
              </c:strCache>
            </c:strRef>
          </c:cat>
          <c:val>
            <c:numRef>
              <c:f>Foglio1!$C$2:$C$5</c:f>
              <c:numCache>
                <c:formatCode>General</c:formatCode>
                <c:ptCount val="4"/>
                <c:pt idx="0">
                  <c:v>8</c:v>
                </c:pt>
                <c:pt idx="1">
                  <c:v>8</c:v>
                </c:pt>
                <c:pt idx="2">
                  <c:v>7</c:v>
                </c:pt>
                <c:pt idx="3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29-4B6C-9BD1-CD6994436182}"/>
            </c:ext>
          </c:extLst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utili per la vita e per il lavoro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Foglio1!$A$2:$A$5</c:f>
              <c:strCache>
                <c:ptCount val="4"/>
                <c:pt idx="0">
                  <c:v>lavorare in gruppo</c:v>
                </c:pt>
                <c:pt idx="1">
                  <c:v>senso di responsabilità</c:v>
                </c:pt>
                <c:pt idx="2">
                  <c:v>perseveranza negli ob.</c:v>
                </c:pt>
                <c:pt idx="3">
                  <c:v>motivazione</c:v>
                </c:pt>
              </c:strCache>
            </c:strRef>
          </c:cat>
          <c:val>
            <c:numRef>
              <c:f>Foglio1!$D$2:$D$5</c:f>
              <c:numCache>
                <c:formatCode>General</c:formatCode>
                <c:ptCount val="4"/>
                <c:pt idx="0">
                  <c:v>9</c:v>
                </c:pt>
                <c:pt idx="1">
                  <c:v>8.5</c:v>
                </c:pt>
                <c:pt idx="2">
                  <c:v>8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29-4B6C-9BD1-CD69944361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08236304"/>
        <c:axId val="1008232976"/>
      </c:barChart>
      <c:catAx>
        <c:axId val="1008236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008232976"/>
        <c:crosses val="autoZero"/>
        <c:auto val="1"/>
        <c:lblAlgn val="ctr"/>
        <c:lblOffset val="100"/>
        <c:noMultiLvlLbl val="0"/>
      </c:catAx>
      <c:valAx>
        <c:axId val="1008232976"/>
        <c:scaling>
          <c:orientation val="minMax"/>
          <c:max val="1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008236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 b="1"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57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A83BDE-A4AA-4FC5-A259-496BB45B91A8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DB92653-ED4E-45AB-9D36-89EBAE6DF264}">
      <dgm:prSet phldrT="[Testo]"/>
      <dgm:spPr>
        <a:solidFill>
          <a:srgbClr val="FFC000"/>
        </a:solidFill>
      </dgm:spPr>
      <dgm:t>
        <a:bodyPr/>
        <a:lstStyle/>
        <a:p>
          <a:r>
            <a:rPr lang="it-IT" b="0" dirty="0">
              <a:solidFill>
                <a:schemeClr val="tx1"/>
              </a:solidFill>
            </a:rPr>
            <a:t>Risultati scolastici</a:t>
          </a:r>
        </a:p>
      </dgm:t>
    </dgm:pt>
    <dgm:pt modelId="{09D76B82-C7C9-4FE4-9F4B-43E05FA6A121}" type="parTrans" cxnId="{CF0D05BC-C77E-46D6-B481-B8BACA059F5F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485EC016-ECF4-45A9-A838-CB1C7228EF57}" type="sibTrans" cxnId="{CF0D05BC-C77E-46D6-B481-B8BACA059F5F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9D2919DE-9C38-45DF-A205-645F933D9146}">
      <dgm:prSet phldrT="[Testo]"/>
      <dgm:spPr>
        <a:solidFill>
          <a:srgbClr val="FFC000"/>
        </a:solidFill>
      </dgm:spPr>
      <dgm:t>
        <a:bodyPr/>
        <a:lstStyle/>
        <a:p>
          <a:r>
            <a:rPr lang="it-IT" b="0" dirty="0">
              <a:solidFill>
                <a:schemeClr val="tx1"/>
              </a:solidFill>
            </a:rPr>
            <a:t>Risultati nelle prove standardizzate</a:t>
          </a:r>
        </a:p>
      </dgm:t>
    </dgm:pt>
    <dgm:pt modelId="{3CAEF4C0-DC97-4FF8-AF72-984A69AB85BE}" type="parTrans" cxnId="{97ADBBB0-2592-4104-82E3-65C95D751C6D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D32A289E-215E-49A6-A3EA-B3B73BA4FFC4}" type="sibTrans" cxnId="{97ADBBB0-2592-4104-82E3-65C95D751C6D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06648A3D-8CE0-4A8F-8C54-DE284114F048}">
      <dgm:prSet phldrT="[Testo]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it-IT" b="0" dirty="0">
              <a:solidFill>
                <a:schemeClr val="tx1"/>
              </a:solidFill>
            </a:rPr>
            <a:t>Risultati nelle competenze chiave</a:t>
          </a:r>
        </a:p>
      </dgm:t>
    </dgm:pt>
    <dgm:pt modelId="{0EF275E5-2E8A-427C-ADD3-43BC4C6627DF}" type="parTrans" cxnId="{EAE215CB-0753-4321-80A6-83C8BF01F075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93CC2352-278A-413C-85DB-780100999FFD}" type="sibTrans" cxnId="{EAE215CB-0753-4321-80A6-83C8BF01F075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4AE44927-304B-4C4A-8EB0-FB5D386A1F03}">
      <dgm:prSet phldrT="[Testo]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it-IT" b="0" dirty="0">
              <a:solidFill>
                <a:schemeClr val="tx1"/>
              </a:solidFill>
            </a:rPr>
            <a:t>Risultati a distanza</a:t>
          </a:r>
        </a:p>
      </dgm:t>
    </dgm:pt>
    <dgm:pt modelId="{01734CD7-914A-4BBB-865A-9E5A9AEFCC91}" type="parTrans" cxnId="{65D9765C-C674-4804-A5DF-8FECB86D824B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9416F6E5-38BC-4C2E-93B9-FEAAC30CE5A5}" type="sibTrans" cxnId="{65D9765C-C674-4804-A5DF-8FECB86D824B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87445FCA-000D-4830-BF1F-24BE6F32E456}" type="pres">
      <dgm:prSet presAssocID="{46A83BDE-A4AA-4FC5-A259-496BB45B91A8}" presName="diagram" presStyleCnt="0">
        <dgm:presLayoutVars>
          <dgm:dir/>
          <dgm:resizeHandles val="exact"/>
        </dgm:presLayoutVars>
      </dgm:prSet>
      <dgm:spPr/>
    </dgm:pt>
    <dgm:pt modelId="{AF769BA9-9086-4BA8-857A-C3DE42ABD068}" type="pres">
      <dgm:prSet presAssocID="{DDB92653-ED4E-45AB-9D36-89EBAE6DF264}" presName="node" presStyleLbl="node1" presStyleIdx="0" presStyleCnt="4" custLinFactNeighborX="2655" custLinFactNeighborY="771">
        <dgm:presLayoutVars>
          <dgm:bulletEnabled val="1"/>
        </dgm:presLayoutVars>
      </dgm:prSet>
      <dgm:spPr/>
    </dgm:pt>
    <dgm:pt modelId="{8306D3B0-D6BD-4C11-ADCC-AA6E8A7DEB6E}" type="pres">
      <dgm:prSet presAssocID="{485EC016-ECF4-45A9-A838-CB1C7228EF57}" presName="sibTrans" presStyleCnt="0"/>
      <dgm:spPr/>
    </dgm:pt>
    <dgm:pt modelId="{2B473A1B-01D8-42FA-BA1B-14A3C891E42A}" type="pres">
      <dgm:prSet presAssocID="{9D2919DE-9C38-45DF-A205-645F933D9146}" presName="node" presStyleLbl="node1" presStyleIdx="1" presStyleCnt="4">
        <dgm:presLayoutVars>
          <dgm:bulletEnabled val="1"/>
        </dgm:presLayoutVars>
      </dgm:prSet>
      <dgm:spPr/>
    </dgm:pt>
    <dgm:pt modelId="{F3E128B2-A1D3-4DCD-BEDC-6804613A47AE}" type="pres">
      <dgm:prSet presAssocID="{D32A289E-215E-49A6-A3EA-B3B73BA4FFC4}" presName="sibTrans" presStyleCnt="0"/>
      <dgm:spPr/>
    </dgm:pt>
    <dgm:pt modelId="{162918A6-8CFF-4BA0-9CB0-01BCE32D0E4F}" type="pres">
      <dgm:prSet presAssocID="{06648A3D-8CE0-4A8F-8C54-DE284114F048}" presName="node" presStyleLbl="node1" presStyleIdx="2" presStyleCnt="4">
        <dgm:presLayoutVars>
          <dgm:bulletEnabled val="1"/>
        </dgm:presLayoutVars>
      </dgm:prSet>
      <dgm:spPr/>
    </dgm:pt>
    <dgm:pt modelId="{97389F10-53F2-4359-83F2-11E9FF1912B9}" type="pres">
      <dgm:prSet presAssocID="{93CC2352-278A-413C-85DB-780100999FFD}" presName="sibTrans" presStyleCnt="0"/>
      <dgm:spPr/>
    </dgm:pt>
    <dgm:pt modelId="{AF6F0F81-CB3D-499F-91E2-1342E530E089}" type="pres">
      <dgm:prSet presAssocID="{4AE44927-304B-4C4A-8EB0-FB5D386A1F03}" presName="node" presStyleLbl="node1" presStyleIdx="3" presStyleCnt="4" custLinFactNeighborX="-669" custLinFactNeighborY="3270">
        <dgm:presLayoutVars>
          <dgm:bulletEnabled val="1"/>
        </dgm:presLayoutVars>
      </dgm:prSet>
      <dgm:spPr/>
    </dgm:pt>
  </dgm:ptLst>
  <dgm:cxnLst>
    <dgm:cxn modelId="{2DBD5638-658E-4084-8487-67976AA4AF56}" type="presOf" srcId="{46A83BDE-A4AA-4FC5-A259-496BB45B91A8}" destId="{87445FCA-000D-4830-BF1F-24BE6F32E456}" srcOrd="0" destOrd="0" presId="urn:microsoft.com/office/officeart/2005/8/layout/default"/>
    <dgm:cxn modelId="{65D9765C-C674-4804-A5DF-8FECB86D824B}" srcId="{46A83BDE-A4AA-4FC5-A259-496BB45B91A8}" destId="{4AE44927-304B-4C4A-8EB0-FB5D386A1F03}" srcOrd="3" destOrd="0" parTransId="{01734CD7-914A-4BBB-865A-9E5A9AEFCC91}" sibTransId="{9416F6E5-38BC-4C2E-93B9-FEAAC30CE5A5}"/>
    <dgm:cxn modelId="{3BB39BAF-0A72-4913-B3D2-BF6877B6AD51}" type="presOf" srcId="{DDB92653-ED4E-45AB-9D36-89EBAE6DF264}" destId="{AF769BA9-9086-4BA8-857A-C3DE42ABD068}" srcOrd="0" destOrd="0" presId="urn:microsoft.com/office/officeart/2005/8/layout/default"/>
    <dgm:cxn modelId="{97ADBBB0-2592-4104-82E3-65C95D751C6D}" srcId="{46A83BDE-A4AA-4FC5-A259-496BB45B91A8}" destId="{9D2919DE-9C38-45DF-A205-645F933D9146}" srcOrd="1" destOrd="0" parTransId="{3CAEF4C0-DC97-4FF8-AF72-984A69AB85BE}" sibTransId="{D32A289E-215E-49A6-A3EA-B3B73BA4FFC4}"/>
    <dgm:cxn modelId="{010BCBB9-B11A-4875-B8C9-8BD676F7B3EC}" type="presOf" srcId="{06648A3D-8CE0-4A8F-8C54-DE284114F048}" destId="{162918A6-8CFF-4BA0-9CB0-01BCE32D0E4F}" srcOrd="0" destOrd="0" presId="urn:microsoft.com/office/officeart/2005/8/layout/default"/>
    <dgm:cxn modelId="{CF0D05BC-C77E-46D6-B481-B8BACA059F5F}" srcId="{46A83BDE-A4AA-4FC5-A259-496BB45B91A8}" destId="{DDB92653-ED4E-45AB-9D36-89EBAE6DF264}" srcOrd="0" destOrd="0" parTransId="{09D76B82-C7C9-4FE4-9F4B-43E05FA6A121}" sibTransId="{485EC016-ECF4-45A9-A838-CB1C7228EF57}"/>
    <dgm:cxn modelId="{EAE215CB-0753-4321-80A6-83C8BF01F075}" srcId="{46A83BDE-A4AA-4FC5-A259-496BB45B91A8}" destId="{06648A3D-8CE0-4A8F-8C54-DE284114F048}" srcOrd="2" destOrd="0" parTransId="{0EF275E5-2E8A-427C-ADD3-43BC4C6627DF}" sibTransId="{93CC2352-278A-413C-85DB-780100999FFD}"/>
    <dgm:cxn modelId="{BC4C29DB-C0C4-455D-8B9C-992D8E3CC076}" type="presOf" srcId="{4AE44927-304B-4C4A-8EB0-FB5D386A1F03}" destId="{AF6F0F81-CB3D-499F-91E2-1342E530E089}" srcOrd="0" destOrd="0" presId="urn:microsoft.com/office/officeart/2005/8/layout/default"/>
    <dgm:cxn modelId="{2059E7F7-CDB3-44D0-B858-EDA003AE6C68}" type="presOf" srcId="{9D2919DE-9C38-45DF-A205-645F933D9146}" destId="{2B473A1B-01D8-42FA-BA1B-14A3C891E42A}" srcOrd="0" destOrd="0" presId="urn:microsoft.com/office/officeart/2005/8/layout/default"/>
    <dgm:cxn modelId="{1021FF72-48F6-4368-A8E1-CD11C0D26DC0}" type="presParOf" srcId="{87445FCA-000D-4830-BF1F-24BE6F32E456}" destId="{AF769BA9-9086-4BA8-857A-C3DE42ABD068}" srcOrd="0" destOrd="0" presId="urn:microsoft.com/office/officeart/2005/8/layout/default"/>
    <dgm:cxn modelId="{08754134-6E01-4DB4-9045-3C6E37B331DD}" type="presParOf" srcId="{87445FCA-000D-4830-BF1F-24BE6F32E456}" destId="{8306D3B0-D6BD-4C11-ADCC-AA6E8A7DEB6E}" srcOrd="1" destOrd="0" presId="urn:microsoft.com/office/officeart/2005/8/layout/default"/>
    <dgm:cxn modelId="{7D29F374-6022-4E67-970E-28D44F9067B4}" type="presParOf" srcId="{87445FCA-000D-4830-BF1F-24BE6F32E456}" destId="{2B473A1B-01D8-42FA-BA1B-14A3C891E42A}" srcOrd="2" destOrd="0" presId="urn:microsoft.com/office/officeart/2005/8/layout/default"/>
    <dgm:cxn modelId="{7D08FA51-9F78-41A7-8EDA-B3233538FC77}" type="presParOf" srcId="{87445FCA-000D-4830-BF1F-24BE6F32E456}" destId="{F3E128B2-A1D3-4DCD-BEDC-6804613A47AE}" srcOrd="3" destOrd="0" presId="urn:microsoft.com/office/officeart/2005/8/layout/default"/>
    <dgm:cxn modelId="{C43948A6-1191-4E43-91AF-C3B2F3CB4B3E}" type="presParOf" srcId="{87445FCA-000D-4830-BF1F-24BE6F32E456}" destId="{162918A6-8CFF-4BA0-9CB0-01BCE32D0E4F}" srcOrd="4" destOrd="0" presId="urn:microsoft.com/office/officeart/2005/8/layout/default"/>
    <dgm:cxn modelId="{AA8A6878-C74E-4E23-9D79-F6B23D320177}" type="presParOf" srcId="{87445FCA-000D-4830-BF1F-24BE6F32E456}" destId="{97389F10-53F2-4359-83F2-11E9FF1912B9}" srcOrd="5" destOrd="0" presId="urn:microsoft.com/office/officeart/2005/8/layout/default"/>
    <dgm:cxn modelId="{8E43F82B-1567-45A7-916A-E676662D5538}" type="presParOf" srcId="{87445FCA-000D-4830-BF1F-24BE6F32E456}" destId="{AF6F0F81-CB3D-499F-91E2-1342E530E089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0FCF378-3DCA-43B8-A7FE-73F1E5E4548D}" type="doc">
      <dgm:prSet loTypeId="urn:microsoft.com/office/officeart/2005/8/layout/arrow1" loCatId="relationship" qsTypeId="urn:microsoft.com/office/officeart/2005/8/quickstyle/3d3" qsCatId="3D" csTypeId="urn:microsoft.com/office/officeart/2005/8/colors/colorful2" csCatId="colorful" phldr="1"/>
      <dgm:spPr/>
      <dgm:t>
        <a:bodyPr/>
        <a:lstStyle/>
        <a:p>
          <a:endParaRPr lang="it-IT"/>
        </a:p>
      </dgm:t>
    </dgm:pt>
    <dgm:pt modelId="{69BC35BB-FD64-42CE-9EEC-C7E361F11CA2}" type="pres">
      <dgm:prSet presAssocID="{20FCF378-3DCA-43B8-A7FE-73F1E5E4548D}" presName="cycle" presStyleCnt="0">
        <dgm:presLayoutVars>
          <dgm:dir/>
          <dgm:resizeHandles val="exact"/>
        </dgm:presLayoutVars>
      </dgm:prSet>
      <dgm:spPr/>
    </dgm:pt>
  </dgm:ptLst>
  <dgm:cxnLst>
    <dgm:cxn modelId="{8A68A308-CAEF-4A55-AC49-06B0F5B4BD96}" type="presOf" srcId="{20FCF378-3DCA-43B8-A7FE-73F1E5E4548D}" destId="{69BC35BB-FD64-42CE-9EEC-C7E361F11CA2}" srcOrd="0" destOrd="0" presId="urn:microsoft.com/office/officeart/2005/8/layout/arrow1"/>
  </dgm:cxnLst>
  <dgm:bg>
    <a:blipFill>
      <a:blip xmlns:r="http://schemas.openxmlformats.org/officeDocument/2006/relationships" r:embed="rId1">
        <a:extLst>
          <a:ext uri="{28A0092B-C50C-407E-A947-70E740481C1C}">
            <a14:useLocalDpi xmlns:a14="http://schemas.microsoft.com/office/drawing/2010/main" val="0"/>
          </a:ext>
        </a:extLst>
      </a:blip>
      <a:stretch>
        <a:fillRect/>
      </a:stretch>
    </a:blip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769BA9-9086-4BA8-857A-C3DE42ABD068}">
      <dsp:nvSpPr>
        <dsp:cNvPr id="0" name=""/>
        <dsp:cNvSpPr/>
      </dsp:nvSpPr>
      <dsp:spPr>
        <a:xfrm>
          <a:off x="72081" y="626820"/>
          <a:ext cx="2688950" cy="1613370"/>
        </a:xfrm>
        <a:prstGeom prst="rect">
          <a:avLst/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100" b="0" kern="1200" dirty="0">
              <a:solidFill>
                <a:schemeClr val="tx1"/>
              </a:solidFill>
            </a:rPr>
            <a:t>Risultati scolastici</a:t>
          </a:r>
        </a:p>
      </dsp:txBody>
      <dsp:txXfrm>
        <a:off x="72081" y="626820"/>
        <a:ext cx="2688950" cy="1613370"/>
      </dsp:txXfrm>
    </dsp:sp>
    <dsp:sp modelId="{2B473A1B-01D8-42FA-BA1B-14A3C891E42A}">
      <dsp:nvSpPr>
        <dsp:cNvPr id="0" name=""/>
        <dsp:cNvSpPr/>
      </dsp:nvSpPr>
      <dsp:spPr>
        <a:xfrm>
          <a:off x="2958535" y="614381"/>
          <a:ext cx="2688950" cy="1613370"/>
        </a:xfrm>
        <a:prstGeom prst="rect">
          <a:avLst/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100" b="0" kern="1200" dirty="0">
              <a:solidFill>
                <a:schemeClr val="tx1"/>
              </a:solidFill>
            </a:rPr>
            <a:t>Risultati nelle prove standardizzate</a:t>
          </a:r>
        </a:p>
      </dsp:txBody>
      <dsp:txXfrm>
        <a:off x="2958535" y="614381"/>
        <a:ext cx="2688950" cy="1613370"/>
      </dsp:txXfrm>
    </dsp:sp>
    <dsp:sp modelId="{162918A6-8CFF-4BA0-9CB0-01BCE32D0E4F}">
      <dsp:nvSpPr>
        <dsp:cNvPr id="0" name=""/>
        <dsp:cNvSpPr/>
      </dsp:nvSpPr>
      <dsp:spPr>
        <a:xfrm>
          <a:off x="689" y="2496647"/>
          <a:ext cx="2688950" cy="1613370"/>
        </a:xfrm>
        <a:prstGeom prst="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100" b="0" kern="1200" dirty="0">
              <a:solidFill>
                <a:schemeClr val="tx1"/>
              </a:solidFill>
            </a:rPr>
            <a:t>Risultati nelle competenze chiave</a:t>
          </a:r>
        </a:p>
      </dsp:txBody>
      <dsp:txXfrm>
        <a:off x="689" y="2496647"/>
        <a:ext cx="2688950" cy="1613370"/>
      </dsp:txXfrm>
    </dsp:sp>
    <dsp:sp modelId="{AF6F0F81-CB3D-499F-91E2-1342E530E089}">
      <dsp:nvSpPr>
        <dsp:cNvPr id="0" name=""/>
        <dsp:cNvSpPr/>
      </dsp:nvSpPr>
      <dsp:spPr>
        <a:xfrm>
          <a:off x="2940546" y="2549404"/>
          <a:ext cx="2688950" cy="1613370"/>
        </a:xfrm>
        <a:prstGeom prst="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100" b="0" kern="1200" dirty="0">
              <a:solidFill>
                <a:schemeClr val="tx1"/>
              </a:solidFill>
            </a:rPr>
            <a:t>Risultati a distanza</a:t>
          </a:r>
        </a:p>
      </dsp:txBody>
      <dsp:txXfrm>
        <a:off x="2940546" y="2549404"/>
        <a:ext cx="2688950" cy="16133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1">
  <dgm:title val=""/>
  <dgm:desc val=""/>
  <dgm:catLst>
    <dgm:cat type="relationship" pri="7000"/>
    <dgm:cat type="process" pri="3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0.1"/>
          <dgm:constr type="diam" refType="w" refFor="ch" refPtType="node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24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2"/>
        </dgm:constrLst>
      </dgm:if>
      <dgm:if name="Name13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15"/>
        </dgm:constrLst>
      </dgm:if>
      <dgm:if name="Name14" axis="ch" ptType="node" func="cnt" op="equ" val="10">
        <dgm:constrLst>
          <dgm:constr type="primFontSz" for="ch" ptType="node" op="lte" val="65"/>
          <dgm:constr type="w" for="ch" ptType="node" refType="w"/>
          <dgm:constr type="h" for="ch" ptType="node" refType="w" refFor="ch" refPtType="node"/>
          <dgm:constr type="sibSp" refType="w" refFor="ch" refPtType="node" fact="-0.24"/>
        </dgm:constrLst>
      </dgm:if>
      <dgm:else name="Name15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35"/>
        </dgm:constrLst>
      </dgm:else>
    </dgm:choose>
    <dgm:ruleLst/>
    <dgm:forEach name="Name16" axis="ch" ptType="node">
      <dgm:layoutNode name="arrow">
        <dgm:varLst>
          <dgm:bulletEnabled val="1"/>
        </dgm:varLst>
        <dgm:alg type="tx"/>
        <dgm:shape xmlns:r="http://schemas.openxmlformats.org/officeDocument/2006/relationships" type="up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641FC5-EC6C-4722-BBB6-211B079130FF}" type="datetimeFigureOut">
              <a:rPr lang="it-IT" smtClean="0"/>
              <a:t>15/01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95FE6B-3E99-4A77-B021-F0A2C66924E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46028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27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62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-222250" y="808038"/>
            <a:ext cx="7185025" cy="40417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377BB1-BB3E-4EDF-B5FC-A3BA0BC965C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13365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92459D-376B-4583-83DA-20C043AC605F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2099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25647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85134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49968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13900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48585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92459D-376B-4583-83DA-20C043AC605F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5295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92459D-376B-4583-83DA-20C043AC605F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1398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754544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86050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95FE6B-3E99-4A77-B021-F0A2C66924E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6911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94FA7E20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02341" tIns="51172" rIns="102341" bIns="51172" anchor="b"/>
          <a:lstStyle>
            <a:lvl1pPr>
              <a:lnSpc>
                <a:spcPct val="90000"/>
              </a:lnSpc>
              <a:defRPr sz="5200" spc="-112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02341" tIns="51172" rIns="102341" bIns="51172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358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92" y="1584001"/>
            <a:ext cx="5171017" cy="4296588"/>
          </a:xfrm>
          <a:prstGeom prst="rect">
            <a:avLst/>
          </a:prstGeom>
        </p:spPr>
        <p:txBody>
          <a:bodyPr lIns="102341" tIns="51172" rIns="102341" bIns="51172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02341" tIns="51172" rIns="102341" bIns="51172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717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02341" tIns="51172" rIns="102341" bIns="51172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655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7" y="2667000"/>
            <a:ext cx="9141619" cy="2286000"/>
          </a:xfrm>
          <a:prstGeom prst="rect">
            <a:avLst/>
          </a:prstGeom>
        </p:spPr>
        <p:txBody>
          <a:bodyPr lIns="63964" tIns="31980" rIns="63964" bIns="31980" anchor="b">
            <a:noAutofit/>
          </a:bodyPr>
          <a:lstStyle>
            <a:lvl1pPr>
              <a:lnSpc>
                <a:spcPct val="80000"/>
              </a:lnSpc>
              <a:defRPr sz="6700"/>
            </a:lvl1pPr>
          </a:lstStyle>
          <a:p>
            <a:r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6" y="4939697"/>
            <a:ext cx="9141619" cy="699107"/>
          </a:xfrm>
          <a:prstGeom prst="rect">
            <a:avLst/>
          </a:prstGeom>
        </p:spPr>
        <p:txBody>
          <a:bodyPr wrap="square" lIns="63964" tIns="31980" rIns="63964" bIns="3198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700"/>
            </a:lvl1pPr>
            <a:lvl2pPr marL="0" indent="0">
              <a:spcBef>
                <a:spcPts val="0"/>
              </a:spcBef>
              <a:buFontTx/>
              <a:buNone/>
              <a:defRPr sz="1700"/>
            </a:lvl2pPr>
            <a:lvl3pPr marL="0" indent="0">
              <a:spcBef>
                <a:spcPts val="0"/>
              </a:spcBef>
              <a:buFontTx/>
              <a:buNone/>
              <a:defRPr sz="1700"/>
            </a:lvl3pPr>
            <a:lvl4pPr marL="0" indent="0">
              <a:spcBef>
                <a:spcPts val="0"/>
              </a:spcBef>
              <a:buFontTx/>
              <a:buNone/>
              <a:defRPr sz="1700"/>
            </a:lvl4pPr>
            <a:lvl5pPr marL="0" indent="0">
              <a:spcBef>
                <a:spcPts val="0"/>
              </a:spcBef>
              <a:buFontTx/>
              <a:buNone/>
              <a:defRPr sz="1700"/>
            </a:lvl5pPr>
            <a:lvl6pPr marL="0" indent="0">
              <a:spcBef>
                <a:spcPts val="0"/>
              </a:spcBef>
              <a:buFontTx/>
              <a:buNone/>
              <a:defRPr sz="1700"/>
            </a:lvl6pPr>
            <a:lvl7pPr marL="0" indent="0">
              <a:spcBef>
                <a:spcPts val="0"/>
              </a:spcBef>
              <a:buFontTx/>
              <a:buNone/>
              <a:defRPr sz="1700"/>
            </a:lvl7pPr>
            <a:lvl8pPr marL="0" indent="0">
              <a:spcBef>
                <a:spcPts val="0"/>
              </a:spcBef>
              <a:buFontTx/>
              <a:buNone/>
              <a:defRPr sz="1700"/>
            </a:lvl8pPr>
            <a:lvl9pPr marL="0" indent="0">
              <a:spcBef>
                <a:spcPts val="0"/>
              </a:spcBef>
              <a:buFontTx/>
              <a:buNone/>
              <a:defRPr sz="1700"/>
            </a:lvl9pPr>
          </a:lstStyle>
          <a:p>
            <a:pPr lvl="0"/>
            <a:r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6" y="5791200"/>
            <a:ext cx="9141619" cy="457200"/>
          </a:xfrm>
          <a:prstGeom prst="rect">
            <a:avLst/>
          </a:prstGeom>
        </p:spPr>
        <p:txBody>
          <a:bodyPr wrap="square" lIns="63964" tIns="31980" rIns="63964" bIns="3198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700"/>
            </a:lvl2pPr>
            <a:lvl3pPr marL="0" indent="0">
              <a:spcBef>
                <a:spcPts val="0"/>
              </a:spcBef>
              <a:buFontTx/>
              <a:buNone/>
              <a:defRPr sz="1700"/>
            </a:lvl3pPr>
            <a:lvl4pPr marL="0" indent="0">
              <a:spcBef>
                <a:spcPts val="0"/>
              </a:spcBef>
              <a:buFontTx/>
              <a:buNone/>
              <a:defRPr sz="1700"/>
            </a:lvl4pPr>
            <a:lvl5pPr marL="0" indent="0">
              <a:spcBef>
                <a:spcPts val="0"/>
              </a:spcBef>
              <a:buFontTx/>
              <a:buNone/>
              <a:defRPr sz="1700"/>
            </a:lvl5pPr>
            <a:lvl6pPr marL="0" indent="0">
              <a:spcBef>
                <a:spcPts val="0"/>
              </a:spcBef>
              <a:buFontTx/>
              <a:buNone/>
              <a:defRPr sz="1700"/>
            </a:lvl6pPr>
            <a:lvl7pPr marL="0" indent="0">
              <a:spcBef>
                <a:spcPts val="0"/>
              </a:spcBef>
              <a:buFontTx/>
              <a:buNone/>
              <a:defRPr sz="1700"/>
            </a:lvl7pPr>
            <a:lvl8pPr marL="0" indent="0">
              <a:spcBef>
                <a:spcPts val="0"/>
              </a:spcBef>
              <a:buFontTx/>
              <a:buNone/>
              <a:defRPr sz="1700"/>
            </a:lvl8pPr>
            <a:lvl9pPr marL="0" indent="0">
              <a:spcBef>
                <a:spcPts val="0"/>
              </a:spcBef>
              <a:buFontTx/>
              <a:buNone/>
              <a:defRPr sz="1700"/>
            </a:lvl9pPr>
          </a:lstStyle>
          <a:p>
            <a:pPr lvl="0"/>
            <a:r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47" y="418134"/>
            <a:ext cx="4896611" cy="54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6302" y="418134"/>
            <a:ext cx="278350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13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"/>
          <p:cNvSpPr>
            <a:spLocks noChangeAspect="1"/>
          </p:cNvSpPr>
          <p:nvPr/>
        </p:nvSpPr>
        <p:spPr bwMode="black">
          <a:xfrm>
            <a:off x="302951" y="0"/>
            <a:ext cx="608541" cy="53313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lIns="102351" tIns="51177" rIns="102351" bIns="51177"/>
          <a:lstStyle/>
          <a:p>
            <a:pPr defTabSz="1023495">
              <a:defRPr/>
            </a:pPr>
            <a:endParaRPr lang="en-US" sz="32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71503" y="1714505"/>
            <a:ext cx="9334500" cy="4267729"/>
          </a:xfrm>
          <a:prstGeom prst="rect">
            <a:avLst/>
          </a:prstGeom>
        </p:spPr>
        <p:txBody>
          <a:bodyPr lIns="63979" tIns="31988" rIns="63979" bIns="31988"/>
          <a:lstStyle>
            <a:lvl1pPr>
              <a:lnSpc>
                <a:spcPct val="85000"/>
              </a:lnSpc>
              <a:spcBef>
                <a:spcPts val="0"/>
              </a:spcBef>
              <a:defRPr sz="4200"/>
            </a:lvl1pPr>
            <a:lvl2pPr marL="0" indent="0">
              <a:spcBef>
                <a:spcPts val="630"/>
              </a:spcBef>
              <a:buFontTx/>
              <a:buNone/>
              <a:defRPr/>
            </a:lvl2pPr>
            <a:lvl3pPr marL="0" indent="0">
              <a:spcBef>
                <a:spcPts val="630"/>
              </a:spcBef>
              <a:buFontTx/>
              <a:buNone/>
              <a:defRPr/>
            </a:lvl3pPr>
            <a:lvl4pPr marL="0" indent="0">
              <a:spcBef>
                <a:spcPts val="630"/>
              </a:spcBef>
              <a:buFontTx/>
              <a:buNone/>
              <a:defRPr/>
            </a:lvl4pPr>
            <a:lvl5pPr marL="0" indent="0">
              <a:spcBef>
                <a:spcPts val="630"/>
              </a:spcBef>
              <a:buFontTx/>
              <a:buNone/>
              <a:defRPr/>
            </a:lvl5pPr>
            <a:lvl6pPr marL="0" indent="0">
              <a:spcBef>
                <a:spcPts val="630"/>
              </a:spcBef>
              <a:buFontTx/>
              <a:buNone/>
              <a:defRPr baseline="0"/>
            </a:lvl6pPr>
            <a:lvl7pPr marL="0" indent="0">
              <a:spcBef>
                <a:spcPts val="630"/>
              </a:spcBef>
              <a:buFontTx/>
              <a:buNone/>
              <a:defRPr baseline="0"/>
            </a:lvl7pPr>
            <a:lvl8pPr marL="0" indent="0">
              <a:spcBef>
                <a:spcPts val="630"/>
              </a:spcBef>
              <a:buFontTx/>
              <a:buNone/>
              <a:defRPr baseline="0"/>
            </a:lvl8pPr>
            <a:lvl9pPr marL="0" indent="0">
              <a:spcBef>
                <a:spcPts val="63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70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46250" tIns="73126" rIns="146250" bIns="73126" anchor="b"/>
          <a:lstStyle>
            <a:lvl1pPr>
              <a:lnSpc>
                <a:spcPct val="90000"/>
              </a:lnSpc>
              <a:defRPr sz="4700" spc="-1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46250" tIns="73126" rIns="146250" bIns="73126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540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9239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 defTabSz="45703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82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453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730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543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51172" rIns="102341" bIns="51172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511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8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02341" tIns="51172" rIns="102341" bIns="51172" anchor="t">
            <a:noAutofit/>
          </a:bodyPr>
          <a:lstStyle>
            <a:lvl1pPr algn="l">
              <a:lnSpc>
                <a:spcPct val="90000"/>
              </a:lnSpc>
              <a:defRPr sz="4500" b="1" i="0" spc="-112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824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38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171387" indent="-171387">
              <a:buFont typeface="HP Simplified" pitchFamily="34" charset="0"/>
              <a:buChar char="•"/>
              <a:defRPr sz="1300" b="0">
                <a:solidFill>
                  <a:schemeClr val="tx1"/>
                </a:solidFill>
              </a:defRPr>
            </a:lvl1pPr>
            <a:lvl2pPr marL="342773" indent="-171387">
              <a:buSzPct val="80000"/>
              <a:buFont typeface="HP Simplified" pitchFamily="34" charset="0"/>
              <a:buChar char="–"/>
              <a:defRPr sz="1300">
                <a:solidFill>
                  <a:srgbClr val="000000"/>
                </a:solidFill>
              </a:defRPr>
            </a:lvl2pPr>
            <a:lvl3pPr marL="512574" indent="-169802">
              <a:defRPr sz="1300">
                <a:solidFill>
                  <a:srgbClr val="000000"/>
                </a:solidFill>
              </a:defRPr>
            </a:lvl3pPr>
            <a:lvl4pPr marL="690308" indent="-180909">
              <a:defRPr sz="1300">
                <a:solidFill>
                  <a:srgbClr val="000000"/>
                </a:solidFill>
              </a:defRPr>
            </a:lvl4pPr>
            <a:lvl5pPr marL="833132" indent="-150758">
              <a:defRPr sz="13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1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5922"/>
          </a:xfrm>
          <a:prstGeom prst="rect">
            <a:avLst/>
          </a:prstGeom>
          <a:ln>
            <a:noFill/>
          </a:ln>
        </p:spPr>
        <p:txBody>
          <a:bodyPr lIns="146250" tIns="73126" rIns="146250" bIns="73126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90644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82" y="1584001"/>
            <a:ext cx="5171017" cy="4296588"/>
          </a:xfrm>
          <a:prstGeom prst="rect">
            <a:avLst/>
          </a:prstGeom>
        </p:spPr>
        <p:txBody>
          <a:bodyPr lIns="146250" tIns="73126" rIns="146250" bIns="73126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739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301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16" tIns="54857" rIns="109716" bIns="54857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16" tIns="54857" rIns="109716" bIns="54857"/>
          <a:lstStyle>
            <a:lvl4pPr marL="285705" indent="-142853">
              <a:buFont typeface="Arial" pitchFamily="34" charset="0"/>
              <a:buChar char="–"/>
              <a:defRPr/>
            </a:lvl4pPr>
            <a:lvl5pPr marL="428557" indent="-142853">
              <a:buFont typeface="Arial" pitchFamily="34" charset="0"/>
              <a:buChar char="–"/>
              <a:defRPr/>
            </a:lvl5pPr>
            <a:lvl6pPr marL="571409" indent="-142853">
              <a:buFont typeface="Arial" pitchFamily="34" charset="0"/>
              <a:buChar char="–"/>
              <a:defRPr baseline="0"/>
            </a:lvl6pPr>
            <a:lvl7pPr marL="714260" indent="-142853">
              <a:buFont typeface="Arial" pitchFamily="34" charset="0"/>
              <a:buChar char="–"/>
              <a:defRPr baseline="0"/>
            </a:lvl7pPr>
            <a:lvl8pPr marL="857112" indent="-142853">
              <a:buFont typeface="Arial" pitchFamily="34" charset="0"/>
              <a:buChar char="–"/>
              <a:defRPr baseline="0"/>
            </a:lvl8pPr>
            <a:lvl9pPr marL="999965" indent="-142853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786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6DB770DE-692F-4463-A70D-B09B478A8FF9}" type="datetimeFigureOut">
              <a:rPr lang="it-IT" smtClean="0">
                <a:solidFill>
                  <a:srgbClr val="000000"/>
                </a:solidFill>
              </a:rPr>
              <a:pPr defTabSz="914253"/>
              <a:t>15/01/2023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421694A0-5733-4F47-9D72-01C16A72CC61}" type="slidenum">
              <a:rPr lang="it-IT" smtClean="0">
                <a:solidFill>
                  <a:srgbClr val="000000"/>
                </a:solidFill>
              </a:rPr>
              <a:pPr defTabSz="914253"/>
              <a:t>‹N›</a:t>
            </a:fld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46250" tIns="73126" rIns="146250" bIns="73126" anchor="b"/>
          <a:lstStyle>
            <a:lvl1pPr>
              <a:lnSpc>
                <a:spcPct val="90000"/>
              </a:lnSpc>
              <a:defRPr sz="4700" spc="-1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46250" tIns="73126" rIns="146250" bIns="73126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4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0070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 defTabSz="45703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145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51172" rIns="102341" bIns="51172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511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8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02341" tIns="51172" rIns="102341" bIns="51172" anchor="t">
            <a:noAutofit/>
          </a:bodyPr>
          <a:lstStyle>
            <a:lvl1pPr algn="l" defTabSz="51169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500" b="1" i="0" kern="1200" spc="-112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828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4753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32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336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74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171387" indent="-171387">
              <a:buFont typeface="HP Simplified" pitchFamily="34" charset="0"/>
              <a:buChar char="•"/>
              <a:defRPr sz="1300" b="0">
                <a:solidFill>
                  <a:schemeClr val="tx1"/>
                </a:solidFill>
              </a:defRPr>
            </a:lvl1pPr>
            <a:lvl2pPr marL="342773" indent="-171387">
              <a:buSzPct val="80000"/>
              <a:buFont typeface="HP Simplified" pitchFamily="34" charset="0"/>
              <a:buChar char="–"/>
              <a:defRPr sz="1300">
                <a:solidFill>
                  <a:srgbClr val="000000"/>
                </a:solidFill>
              </a:defRPr>
            </a:lvl2pPr>
            <a:lvl3pPr marL="512574" indent="-169802">
              <a:defRPr sz="1300">
                <a:solidFill>
                  <a:srgbClr val="000000"/>
                </a:solidFill>
              </a:defRPr>
            </a:lvl3pPr>
            <a:lvl4pPr marL="690308" indent="-180909">
              <a:defRPr sz="1300">
                <a:solidFill>
                  <a:srgbClr val="000000"/>
                </a:solidFill>
              </a:defRPr>
            </a:lvl4pPr>
            <a:lvl5pPr marL="833132" indent="-150758">
              <a:defRPr sz="13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56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5922"/>
          </a:xfrm>
          <a:prstGeom prst="rect">
            <a:avLst/>
          </a:prstGeom>
          <a:ln>
            <a:noFill/>
          </a:ln>
        </p:spPr>
        <p:txBody>
          <a:bodyPr lIns="146250" tIns="73126" rIns="146250" bIns="73126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1932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82" y="1584001"/>
            <a:ext cx="5171017" cy="4296588"/>
          </a:xfrm>
          <a:prstGeom prst="rect">
            <a:avLst/>
          </a:prstGeom>
        </p:spPr>
        <p:txBody>
          <a:bodyPr lIns="146250" tIns="73126" rIns="146250" bIns="73126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4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0707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7" y="2667000"/>
            <a:ext cx="9141619" cy="2286000"/>
          </a:xfrm>
          <a:prstGeom prst="rect">
            <a:avLst/>
          </a:prstGeom>
        </p:spPr>
        <p:txBody>
          <a:bodyPr lIns="91407" tIns="45703" rIns="91407" bIns="45703"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6" y="4939697"/>
            <a:ext cx="9141619" cy="699107"/>
          </a:xfrm>
          <a:prstGeom prst="rect">
            <a:avLst/>
          </a:prstGeom>
        </p:spPr>
        <p:txBody>
          <a:bodyPr wrap="square" lIns="91407" tIns="45703" rIns="91407" bIns="45703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6" y="5791200"/>
            <a:ext cx="9141619" cy="457200"/>
          </a:xfrm>
          <a:prstGeom prst="rect">
            <a:avLst/>
          </a:prstGeom>
        </p:spPr>
        <p:txBody>
          <a:bodyPr wrap="square" lIns="91407" tIns="45703" rIns="91407" bIns="45703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47" y="418134"/>
            <a:ext cx="4896611" cy="54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6302" y="418134"/>
            <a:ext cx="278350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71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16" tIns="54857" rIns="109716" bIns="54857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16" tIns="54857" rIns="109716" bIns="54857"/>
          <a:lstStyle>
            <a:lvl4pPr marL="285705" indent="-142853">
              <a:buFont typeface="Arial" pitchFamily="34" charset="0"/>
              <a:buChar char="–"/>
              <a:defRPr/>
            </a:lvl4pPr>
            <a:lvl5pPr marL="428557" indent="-142853">
              <a:buFont typeface="Arial" pitchFamily="34" charset="0"/>
              <a:buChar char="–"/>
              <a:defRPr/>
            </a:lvl5pPr>
            <a:lvl6pPr marL="571409" indent="-142853">
              <a:buFont typeface="Arial" pitchFamily="34" charset="0"/>
              <a:buChar char="–"/>
              <a:defRPr baseline="0"/>
            </a:lvl6pPr>
            <a:lvl7pPr marL="714260" indent="-142853">
              <a:buFont typeface="Arial" pitchFamily="34" charset="0"/>
              <a:buChar char="–"/>
              <a:defRPr baseline="0"/>
            </a:lvl7pPr>
            <a:lvl8pPr marL="857112" indent="-142853">
              <a:buFont typeface="Arial" pitchFamily="34" charset="0"/>
              <a:buChar char="–"/>
              <a:defRPr baseline="0"/>
            </a:lvl8pPr>
            <a:lvl9pPr marL="999965" indent="-142853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18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457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6DB770DE-692F-4463-A70D-B09B478A8FF9}" type="datetimeFigureOut">
              <a:rPr lang="it-IT" smtClean="0">
                <a:solidFill>
                  <a:srgbClr val="000000"/>
                </a:solidFill>
              </a:rPr>
              <a:pPr defTabSz="914253"/>
              <a:t>15/01/2023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421694A0-5733-4F47-9D72-01C16A72CC61}" type="slidenum">
              <a:rPr lang="it-IT" smtClean="0">
                <a:solidFill>
                  <a:srgbClr val="000000"/>
                </a:solidFill>
              </a:rPr>
              <a:pPr defTabSz="914253"/>
              <a:t>‹N›</a:t>
            </a:fld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22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234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75702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86957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50173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7263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12669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6567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14145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91996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41" tIns="51172" rIns="102341" bIns="51172" anchor="ctr"/>
          <a:lstStyle/>
          <a:p>
            <a:pPr algn="ctr" defTabSz="511695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06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15189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41297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584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53711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938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929796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147340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324734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8512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5125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41" tIns="51172" rIns="102341" bIns="51172" anchor="ctr"/>
          <a:lstStyle/>
          <a:p>
            <a:pPr algn="ctr" defTabSz="511695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110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09096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79464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98244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86087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24605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907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95041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0" y="6473827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2000" cy="67667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203200" y="152400"/>
            <a:ext cx="88392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04800" y="228601"/>
            <a:ext cx="8229600" cy="1066800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rgbClr val="4578A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1087120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63225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9656" y="174000"/>
            <a:ext cx="5328592" cy="720080"/>
          </a:xfrm>
        </p:spPr>
        <p:txBody>
          <a:bodyPr anchor="ctr">
            <a:normAutofit/>
          </a:bodyPr>
          <a:lstStyle>
            <a:lvl1pPr algn="ctr">
              <a:defRPr lang="en-US" sz="2800" b="1" kern="1200" dirty="0">
                <a:solidFill>
                  <a:srgbClr val="009A44"/>
                </a:solidFill>
                <a:latin typeface="Arial" pitchFamily="34" charset="0"/>
                <a:ea typeface="HP Simplified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4" name="Picture 34" descr="Sistema Nazionale di Valutazione (SNV) – indicazioni operative in merito ai  documenti strategici delle istituzioni scolastiche (Rapporto di  autovalutazione, Piano di miglioramento, Piano triennale dell&amp;#39;offerta  formativa) – Ufficio Scolastico Regionale ...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1" b="19673"/>
          <a:stretch/>
        </p:blipFill>
        <p:spPr bwMode="auto">
          <a:xfrm>
            <a:off x="9773606" y="6219618"/>
            <a:ext cx="1816732" cy="449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651B945E-1BC3-4767-AEC3-E6933D62FBD3}"/>
              </a:ext>
            </a:extLst>
          </p:cNvPr>
          <p:cNvCxnSpPr/>
          <p:nvPr userDrawn="1"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438C1B1E-F1FF-49F6-A465-396C4F2F37C4}"/>
              </a:ext>
            </a:extLst>
          </p:cNvPr>
          <p:cNvCxnSpPr/>
          <p:nvPr userDrawn="1"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70BA9A61-BC58-4E89-AC80-587A2D9F9A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75" y="6179175"/>
            <a:ext cx="2609850" cy="4286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72341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6D384-B2C5-42A4-9774-A931C39BA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8D736C-5FCC-43BC-B824-A90F2CC5D1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4A3A50-B922-45BE-945D-7ED3EBD83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F61AA-5A98-4049-A93E-477E5505141A}" type="datetimeFigureOut">
              <a:rPr lang="en-US" smtClean="0"/>
              <a:t>1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241F78-20DE-4D53-BB25-79E5C4E1A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3084-C669-4FDF-87D4-F22D36BB8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184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13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59202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7">
            <a:extLst>
              <a:ext uri="{FF2B5EF4-FFF2-40B4-BE49-F238E27FC236}">
                <a16:creationId xmlns:a16="http://schemas.microsoft.com/office/drawing/2014/main" id="{39FF9358-4F01-00FB-3952-8F74FF7A5F3A}"/>
              </a:ext>
            </a:extLst>
          </p:cNvPr>
          <p:cNvCxnSpPr/>
          <p:nvPr userDrawn="1"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1" descr="Immagine 1">
            <a:extLst>
              <a:ext uri="{FF2B5EF4-FFF2-40B4-BE49-F238E27FC236}">
                <a16:creationId xmlns:a16="http://schemas.microsoft.com/office/drawing/2014/main" id="{E0AF0857-61C4-4971-E212-3C29615EFE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27848" y="6237312"/>
            <a:ext cx="2209803" cy="368303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F8F2C0-E02F-CBC7-496C-994CF21DAD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00" y="6086475"/>
            <a:ext cx="1307925" cy="715866"/>
          </a:xfrm>
          <a:prstGeom prst="rect">
            <a:avLst/>
          </a:prstGeom>
        </p:spPr>
      </p:pic>
      <p:pic>
        <p:nvPicPr>
          <p:cNvPr id="5" name="Picture 34" descr="Sistema Nazionale di Valutazione (SNV) – indicazioni operative in merito ai  documenti strategici delle istituzioni scolastiche (Rapporto di  autovalutazione, Piano di miglioramento, Piano triennale dell&amp;#39;offerta  formativa) – Ufficio Scolastico Regionale ...">
            <a:extLst>
              <a:ext uri="{FF2B5EF4-FFF2-40B4-BE49-F238E27FC236}">
                <a16:creationId xmlns:a16="http://schemas.microsoft.com/office/drawing/2014/main" id="{22C650A5-C9F0-003D-28A9-42381A5537C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1" b="19673"/>
          <a:stretch/>
        </p:blipFill>
        <p:spPr bwMode="auto">
          <a:xfrm>
            <a:off x="9773606" y="6219618"/>
            <a:ext cx="1816732" cy="449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427263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317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696492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31039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955607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8797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602830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047223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9419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191888" indent="-191888">
              <a:buFont typeface="HP Simplified" pitchFamily="34" charset="0"/>
              <a:buChar char="•"/>
              <a:defRPr sz="1500" b="0">
                <a:solidFill>
                  <a:schemeClr val="tx1"/>
                </a:solidFill>
              </a:defRPr>
            </a:lvl1pPr>
            <a:lvl2pPr marL="383775" indent="-191888">
              <a:buSzPct val="80000"/>
              <a:buFont typeface="HP Simplified" pitchFamily="34" charset="0"/>
              <a:buChar char="–"/>
              <a:defRPr sz="1500">
                <a:solidFill>
                  <a:srgbClr val="000000"/>
                </a:solidFill>
              </a:defRPr>
            </a:lvl2pPr>
            <a:lvl3pPr marL="573888" indent="-190112">
              <a:defRPr sz="1500">
                <a:solidFill>
                  <a:srgbClr val="000000"/>
                </a:solidFill>
              </a:defRPr>
            </a:lvl3pPr>
            <a:lvl4pPr marL="772875" indent="-202548">
              <a:defRPr sz="1500">
                <a:solidFill>
                  <a:srgbClr val="000000"/>
                </a:solidFill>
              </a:defRPr>
            </a:lvl4pPr>
            <a:lvl5pPr marL="932779" indent="-168790">
              <a:defRPr sz="15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4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6214247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3502274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1080783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3077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191491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0" y="6473827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2000" cy="67667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203200" y="152400"/>
            <a:ext cx="88392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04800" y="228601"/>
            <a:ext cx="8229600" cy="1066800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rgbClr val="4578A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1087120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718386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28" tIns="54864" rIns="109728" bIns="548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28" tIns="54864" rIns="109728" bIns="54864"/>
          <a:lstStyle>
            <a:lvl4pPr marL="285739" indent="-142869">
              <a:buFont typeface="Arial" pitchFamily="34" charset="0"/>
              <a:buChar char="–"/>
              <a:defRPr/>
            </a:lvl4pPr>
            <a:lvl5pPr marL="428608" indent="-142869">
              <a:buFont typeface="Arial" pitchFamily="34" charset="0"/>
              <a:buChar char="–"/>
              <a:defRPr/>
            </a:lvl5pPr>
            <a:lvl6pPr marL="571478" indent="-142869">
              <a:buFont typeface="Arial" pitchFamily="34" charset="0"/>
              <a:buChar char="–"/>
              <a:defRPr baseline="0"/>
            </a:lvl6pPr>
            <a:lvl7pPr marL="714346" indent="-142869">
              <a:buFont typeface="Arial" pitchFamily="34" charset="0"/>
              <a:buChar char="–"/>
              <a:defRPr baseline="0"/>
            </a:lvl7pPr>
            <a:lvl8pPr marL="857216" indent="-142869">
              <a:buFont typeface="Arial" pitchFamily="34" charset="0"/>
              <a:buChar char="–"/>
              <a:defRPr baseline="0"/>
            </a:lvl8pPr>
            <a:lvl9pPr marL="1000085" indent="-142869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724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58492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1910"/>
          </a:xfrm>
          <a:prstGeom prst="rect">
            <a:avLst/>
          </a:prstGeom>
          <a:ln>
            <a:noFill/>
          </a:ln>
        </p:spPr>
        <p:txBody>
          <a:bodyPr lIns="102341" tIns="51172" rIns="102341" bIns="51172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174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3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image" Target="../media/image13.jpe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5.jpeg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21" Type="http://schemas.openxmlformats.org/officeDocument/2006/relationships/image" Target="../media/image15.jpeg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63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image" Target="../media/image14.png"/><Relationship Id="rId3" Type="http://schemas.openxmlformats.org/officeDocument/2006/relationships/slideLayout" Target="../slideLayouts/slideLayout74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51172" rIns="102341" bIns="51172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0233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8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02339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8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36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83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511695" rtl="0" eaLnBrk="0" fontAlgn="base" hangingPunct="0">
        <a:spcBef>
          <a:spcPct val="0"/>
        </a:spcBef>
        <a:spcAft>
          <a:spcPct val="0"/>
        </a:spcAft>
        <a:defRPr lang="en-GB" sz="22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511695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023393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535084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046779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511695" rtl="0" eaLnBrk="0" fontAlgn="base" hangingPunct="0">
        <a:spcBef>
          <a:spcPct val="0"/>
        </a:spcBef>
        <a:spcAft>
          <a:spcPts val="448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81492" rtl="0" eaLnBrk="0" fontAlgn="base" hangingPunct="0">
        <a:spcBef>
          <a:spcPct val="0"/>
        </a:spcBef>
        <a:spcAft>
          <a:spcPts val="448"/>
        </a:spcAft>
        <a:buSzPct val="100000"/>
        <a:buFont typeface="Lucida Grande"/>
        <a:defRPr sz="18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90112" indent="-190112" algn="l" defTabSz="511695" rtl="0" eaLnBrk="0" fontAlgn="base" hangingPunct="0">
        <a:spcBef>
          <a:spcPct val="0"/>
        </a:spcBef>
        <a:spcAft>
          <a:spcPts val="448"/>
        </a:spcAft>
        <a:buFont typeface="HP Simplified"/>
        <a:buChar char="•"/>
        <a:defRPr sz="15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81998" indent="-202548" algn="l" defTabSz="511695" rtl="0" eaLnBrk="0" fontAlgn="base" hangingPunct="0">
        <a:spcBef>
          <a:spcPct val="0"/>
        </a:spcBef>
        <a:spcAft>
          <a:spcPts val="448"/>
        </a:spcAft>
        <a:buSzPct val="80000"/>
        <a:buFont typeface="HP Simplified"/>
        <a:buChar char="–"/>
        <a:defRPr lang="en-US" sz="15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525910" indent="-168790" algn="l" defTabSz="511695" rtl="0" eaLnBrk="0" fontAlgn="base" hangingPunct="0">
        <a:spcBef>
          <a:spcPct val="0"/>
        </a:spcBef>
        <a:spcAft>
          <a:spcPts val="448"/>
        </a:spcAft>
        <a:buFont typeface="HP Simplified"/>
        <a:buChar char="•"/>
        <a:defRPr sz="15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558477" indent="0" algn="l" defTabSz="511695" rtl="0" eaLnBrk="1" latinLnBrk="0" hangingPunct="1">
        <a:lnSpc>
          <a:spcPts val="2800"/>
        </a:lnSpc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26022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37715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9417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695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393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084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6779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477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168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1870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3563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45703" rIns="91407" bIns="4570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7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7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29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727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4" r:id="rId12"/>
    <p:sldLayoutId id="214748376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030" rtl="0" eaLnBrk="0" fontAlgn="base" hangingPunct="0">
        <a:spcBef>
          <a:spcPct val="0"/>
        </a:spcBef>
        <a:spcAft>
          <a:spcPct val="0"/>
        </a:spcAft>
        <a:defRPr lang="en-GB" sz="19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457030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914062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371091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1828124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457030" rtl="0" eaLnBrk="0" fontAlgn="base" hangingPunct="0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30054" rtl="0" eaLnBrk="0" fontAlgn="base" hangingPunct="0">
        <a:spcBef>
          <a:spcPct val="0"/>
        </a:spcBef>
        <a:spcAft>
          <a:spcPts val="400"/>
        </a:spcAft>
        <a:buSzPct val="100000"/>
        <a:buFont typeface="Lucida Grande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69802" indent="-169802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41188" indent="-180909" algn="l" defTabSz="457030" rtl="0" eaLnBrk="0" fontAlgn="base" hangingPunct="0">
        <a:spcBef>
          <a:spcPct val="0"/>
        </a:spcBef>
        <a:spcAft>
          <a:spcPts val="400"/>
        </a:spcAft>
        <a:buSzPct val="80000"/>
        <a:buFont typeface="HP Simplified"/>
        <a:buChar char="–"/>
        <a:defRPr lang="en-US" sz="13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469727" indent="-150758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285155" indent="0" algn="l" defTabSz="45703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00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2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65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2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91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2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55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8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17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48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45703" rIns="91407" bIns="4570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7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7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29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779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9" r:id="rId12"/>
    <p:sldLayoutId id="2147483780" r:id="rId13"/>
    <p:sldLayoutId id="2147483781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030" rtl="0" eaLnBrk="0" fontAlgn="base" hangingPunct="0">
        <a:spcBef>
          <a:spcPct val="0"/>
        </a:spcBef>
        <a:spcAft>
          <a:spcPct val="0"/>
        </a:spcAft>
        <a:defRPr lang="en-GB" sz="19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457030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914062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371091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1828124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457030" rtl="0" eaLnBrk="0" fontAlgn="base" hangingPunct="0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30054" rtl="0" eaLnBrk="0" fontAlgn="base" hangingPunct="0">
        <a:spcBef>
          <a:spcPct val="0"/>
        </a:spcBef>
        <a:spcAft>
          <a:spcPts val="400"/>
        </a:spcAft>
        <a:buSzPct val="100000"/>
        <a:buFont typeface="Lucida Grande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69802" indent="-169802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41188" indent="-180909" algn="l" defTabSz="457030" rtl="0" eaLnBrk="0" fontAlgn="base" hangingPunct="0">
        <a:spcBef>
          <a:spcPct val="0"/>
        </a:spcBef>
        <a:spcAft>
          <a:spcPts val="400"/>
        </a:spcAft>
        <a:buSzPct val="80000"/>
        <a:buFont typeface="HP Simplified"/>
        <a:buChar char="–"/>
        <a:defRPr lang="en-US" sz="13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469727" indent="-150758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285155" indent="0" algn="l" defTabSz="45703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00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2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65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2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91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2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55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8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17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48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688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8" r:id="rId12"/>
    <p:sldLayoutId id="2147483830" r:id="rId13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443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4" r:id="rId13"/>
    <p:sldLayoutId id="2147483855" r:id="rId14"/>
    <p:sldLayoutId id="2147483858" r:id="rId15"/>
    <p:sldLayoutId id="2147483877" r:id="rId16"/>
    <p:sldLayoutId id="2147483878" r:id="rId17"/>
    <p:sldLayoutId id="2147483879" r:id="rId18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0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225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  <p:sldLayoutId id="2147483875" r:id="rId16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94FA7E20"/><Relationship Id="rId2" Type="http://schemas.openxmlformats.org/officeDocument/2006/relationships/slideLayout" Target="../slideLayouts/slideLayout70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30.jp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32.gif"/><Relationship Id="rId1" Type="http://schemas.openxmlformats.org/officeDocument/2006/relationships/slideLayout" Target="../slideLayouts/slideLayout6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6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6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30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30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3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gif"/><Relationship Id="rId1" Type="http://schemas.openxmlformats.org/officeDocument/2006/relationships/slideLayout" Target="../slideLayouts/slideLayout6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6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6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7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7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7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7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gif"/><Relationship Id="rId1" Type="http://schemas.openxmlformats.org/officeDocument/2006/relationships/slideLayout" Target="../slideLayouts/slideLayout6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gif"/><Relationship Id="rId1" Type="http://schemas.openxmlformats.org/officeDocument/2006/relationships/slideLayout" Target="../slideLayouts/slideLayout6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68195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68195" y="85844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5689334" y="2921012"/>
            <a:ext cx="4708169" cy="1311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80" tIns="33692" rIns="67380" bIns="33692" anchor="ctr"/>
          <a:lstStyle/>
          <a:p>
            <a:pPr algn="r" defTabSz="722710" eaLnBrk="0" hangingPunct="0">
              <a:spcBef>
                <a:spcPct val="25000"/>
              </a:spcBef>
              <a:defRPr/>
            </a:pPr>
            <a:endParaRPr lang="it-IT" sz="2400" b="1" dirty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1" name="Straight Connector 10"/>
          <p:cNvCxnSpPr>
            <a:cxnSpLocks/>
          </p:cNvCxnSpPr>
          <p:nvPr/>
        </p:nvCxnSpPr>
        <p:spPr>
          <a:xfrm>
            <a:off x="1358639" y="4151994"/>
            <a:ext cx="7551955" cy="12698"/>
          </a:xfrm>
          <a:prstGeom prst="line">
            <a:avLst/>
          </a:prstGeom>
          <a:ln w="28575">
            <a:solidFill>
              <a:srgbClr val="005E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82" name="Picture 34" descr="Sistema Nazionale di Valutazione (SNV) – indicazioni operative in merito ai  documenti strategici delle istituzioni scolastiche (Rapporto di  autovalutazione, Piano di miglioramento, Piano triennale dell&amp;#39;offerta  formativa) – Ufficio Scolastico Regionale ...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1" r="75401" b="19673"/>
          <a:stretch/>
        </p:blipFill>
        <p:spPr bwMode="auto">
          <a:xfrm>
            <a:off x="9111608" y="2315640"/>
            <a:ext cx="2335138" cy="234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3DACB39B-C7D4-41EF-BC2F-853F3D887154}"/>
              </a:ext>
            </a:extLst>
          </p:cNvPr>
          <p:cNvSpPr txBox="1"/>
          <p:nvPr/>
        </p:nvSpPr>
        <p:spPr>
          <a:xfrm>
            <a:off x="7248128" y="5126592"/>
            <a:ext cx="3888480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it-IT" sz="1400" b="1" i="1" dirty="0">
                <a:solidFill>
                  <a:srgbClr val="0070C0"/>
                </a:solidFill>
                <a:latin typeface="Arial" panose="020B0604020202020204" pitchFamily="34" charset="0"/>
                <a:ea typeface="HP Simplified"/>
                <a:cs typeface="Arial" panose="020B0604020202020204" pitchFamily="34" charset="0"/>
              </a:rPr>
              <a:t>Damiano Previtali</a:t>
            </a:r>
          </a:p>
          <a:p>
            <a:pPr algn="r"/>
            <a:endParaRPr lang="it-IT" sz="1200" dirty="0">
              <a:solidFill>
                <a:srgbClr val="0070C0"/>
              </a:solidFill>
              <a:latin typeface="Arial" panose="020B0604020202020204" pitchFamily="34" charset="0"/>
              <a:ea typeface="HP Simplified"/>
              <a:cs typeface="Arial" panose="020B0604020202020204" pitchFamily="34" charset="0"/>
            </a:endParaRPr>
          </a:p>
          <a:p>
            <a:pPr algn="r"/>
            <a:r>
              <a:rPr lang="it-IT" sz="1200" dirty="0">
                <a:solidFill>
                  <a:srgbClr val="0070C0"/>
                </a:solidFill>
                <a:latin typeface="Arial" panose="020B0604020202020204" pitchFamily="34" charset="0"/>
                <a:ea typeface="HP Simplified"/>
                <a:cs typeface="Arial" panose="020B0604020202020204" pitchFamily="34" charset="0"/>
              </a:rPr>
              <a:t>Dirigente</a:t>
            </a:r>
          </a:p>
          <a:p>
            <a:pPr algn="r"/>
            <a:r>
              <a:rPr lang="it-IT" sz="1200" dirty="0">
                <a:solidFill>
                  <a:srgbClr val="0070C0"/>
                </a:solidFill>
                <a:latin typeface="Arial" panose="020B0604020202020204" pitchFamily="34" charset="0"/>
                <a:ea typeface="HP Simplified"/>
                <a:cs typeface="Arial" panose="020B0604020202020204" pitchFamily="34" charset="0"/>
              </a:rPr>
              <a:t>Sistema nazionale di valutazione</a:t>
            </a:r>
          </a:p>
          <a:p>
            <a:pPr algn="r"/>
            <a:r>
              <a:rPr lang="it-IT" sz="1200" dirty="0">
                <a:solidFill>
                  <a:srgbClr val="0070C0"/>
                </a:solidFill>
                <a:latin typeface="Arial" panose="020B0604020202020204" pitchFamily="34" charset="0"/>
                <a:ea typeface="HP Simplified"/>
                <a:cs typeface="Arial" panose="020B0604020202020204" pitchFamily="34" charset="0"/>
              </a:rPr>
              <a:t>Ministero dell’istruzione e del merito 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0B95D656-85CE-4AC7-AB00-596EBDE10A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78" y="548680"/>
            <a:ext cx="3231311" cy="53068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olo 3">
            <a:extLst>
              <a:ext uri="{FF2B5EF4-FFF2-40B4-BE49-F238E27FC236}">
                <a16:creationId xmlns:a16="http://schemas.microsoft.com/office/drawing/2014/main" id="{6F378F5A-D7D2-9974-13C5-B7ACE5038E06}"/>
              </a:ext>
            </a:extLst>
          </p:cNvPr>
          <p:cNvSpPr txBox="1">
            <a:spLocks/>
          </p:cNvSpPr>
          <p:nvPr/>
        </p:nvSpPr>
        <p:spPr>
          <a:xfrm>
            <a:off x="1157625" y="2949087"/>
            <a:ext cx="7752969" cy="1325563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lang="en-GB" sz="2600" b="1" kern="1200" dirty="0">
                <a:solidFill>
                  <a:schemeClr val="bg1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1pPr>
            <a:lvl2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2pPr>
            <a:lvl3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3pPr>
            <a:lvl4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4pPr>
            <a:lvl5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5pPr>
            <a:lvl6pPr marL="609421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6pPr>
            <a:lvl7pPr marL="1218847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7pPr>
            <a:lvl8pPr marL="1828269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8pPr>
            <a:lvl9pPr marL="2437693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9pPr>
          </a:lstStyle>
          <a:p>
            <a:pPr algn="r"/>
            <a:r>
              <a:rPr lang="it-IT" sz="3200" dirty="0">
                <a:solidFill>
                  <a:srgbClr val="0070C0"/>
                </a:solidFill>
              </a:rPr>
              <a:t>Per un  ecosistema educativo:</a:t>
            </a:r>
          </a:p>
          <a:p>
            <a:pPr algn="r"/>
            <a:r>
              <a:rPr lang="it-IT" sz="3200" b="0" i="1" dirty="0">
                <a:solidFill>
                  <a:srgbClr val="0070C0"/>
                </a:solidFill>
              </a:rPr>
              <a:t>dall’aula alla comunità educante </a:t>
            </a:r>
          </a:p>
        </p:txBody>
      </p:sp>
    </p:spTree>
    <p:extLst>
      <p:ext uri="{BB962C8B-B14F-4D97-AF65-F5344CB8AC3E}">
        <p14:creationId xmlns:p14="http://schemas.microsoft.com/office/powerpoint/2010/main" val="1193744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Indicatori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con </a:t>
            </a: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dati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</a:t>
            </a: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puntuali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per </a:t>
            </a: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ogni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</a:t>
            </a: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scuola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</a:t>
            </a: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nel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RAV </a:t>
            </a:r>
            <a:r>
              <a:rPr lang="en-US" altLang="it-IT" sz="2000" b="1" dirty="0">
                <a:solidFill>
                  <a:srgbClr val="009A44"/>
                </a:solidFill>
                <a:ea typeface="HP Simplified"/>
              </a:rPr>
              <a:t>   </a:t>
            </a:r>
          </a:p>
        </p:txBody>
      </p:sp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4E362C35-A9E1-E93C-B9D4-D39C4FC6DD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3961" y="3064261"/>
            <a:ext cx="6590664" cy="2971795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26911161-BCF3-75A3-4A19-34FD647129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375" y="964833"/>
            <a:ext cx="6380353" cy="2260616"/>
          </a:xfrm>
          <a:prstGeom prst="rect">
            <a:avLst/>
          </a:prstGeom>
        </p:spPr>
      </p:pic>
      <p:pic>
        <p:nvPicPr>
          <p:cNvPr id="2" name="Picture 31">
            <a:extLst>
              <a:ext uri="{FF2B5EF4-FFF2-40B4-BE49-F238E27FC236}">
                <a16:creationId xmlns:a16="http://schemas.microsoft.com/office/drawing/2014/main" id="{A673C4B9-1A06-9B74-A2EE-A6C1BA7BA25B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338694">
            <a:off x="6931219" y="633924"/>
            <a:ext cx="1662397" cy="2050065"/>
          </a:xfrm>
          <a:prstGeom prst="rect">
            <a:avLst/>
          </a:prstGeom>
        </p:spPr>
      </p:pic>
      <p:pic>
        <p:nvPicPr>
          <p:cNvPr id="7" name="Picture 31">
            <a:extLst>
              <a:ext uri="{FF2B5EF4-FFF2-40B4-BE49-F238E27FC236}">
                <a16:creationId xmlns:a16="http://schemas.microsoft.com/office/drawing/2014/main" id="{834938DF-C2F9-F1FE-EB79-84137CEA4374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15593">
            <a:off x="3264978" y="2840842"/>
            <a:ext cx="1662397" cy="205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556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19E1B8C-32EE-457F-9D80-D1C20E34F232}"/>
              </a:ext>
            </a:extLst>
          </p:cNvPr>
          <p:cNvSpPr txBox="1">
            <a:spLocks/>
          </p:cNvSpPr>
          <p:nvPr/>
        </p:nvSpPr>
        <p:spPr>
          <a:xfrm>
            <a:off x="2092230" y="1066800"/>
            <a:ext cx="8153400" cy="4724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200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97481064-DF6B-47F3-AFD8-BE16C915B379}"/>
              </a:ext>
            </a:extLst>
          </p:cNvPr>
          <p:cNvSpPr txBox="1">
            <a:spLocks noGrp="1"/>
          </p:cNvSpPr>
          <p:nvPr>
            <p:ph type="title"/>
          </p:nvPr>
        </p:nvSpPr>
        <p:spPr bwMode="black">
          <a:xfrm>
            <a:off x="623392" y="138819"/>
            <a:ext cx="10927834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rm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172" eaLnBrk="1" hangingPunct="1"/>
            <a:r>
              <a:rPr lang="it-IT" sz="3200" dirty="0">
                <a:solidFill>
                  <a:srgbClr val="009A44"/>
                </a:solidFill>
              </a:rPr>
              <a:t>PNRR – RAV e priorità di miglioramento</a:t>
            </a:r>
            <a:endParaRPr lang="en-US" altLang="it-IT" sz="3200" dirty="0">
              <a:solidFill>
                <a:srgbClr val="009A44"/>
              </a:solidFill>
            </a:endParaRP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4681C95F-E733-4D5B-89CE-2279D9E668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484" y="1460701"/>
            <a:ext cx="3281575" cy="4460451"/>
          </a:xfrm>
          <a:prstGeom prst="rect">
            <a:avLst/>
          </a:prstGeom>
        </p:spPr>
      </p:pic>
      <p:graphicFrame>
        <p:nvGraphicFramePr>
          <p:cNvPr id="2" name="Diagramma 1">
            <a:extLst>
              <a:ext uri="{FF2B5EF4-FFF2-40B4-BE49-F238E27FC236}">
                <a16:creationId xmlns:a16="http://schemas.microsoft.com/office/drawing/2014/main" id="{FB2D47AE-28B1-418A-8A09-44396D73832A}"/>
              </a:ext>
            </a:extLst>
          </p:cNvPr>
          <p:cNvGraphicFramePr/>
          <p:nvPr/>
        </p:nvGraphicFramePr>
        <p:xfrm>
          <a:off x="5814752" y="857957"/>
          <a:ext cx="5648176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Parentesi graffa aperta 4">
            <a:extLst>
              <a:ext uri="{FF2B5EF4-FFF2-40B4-BE49-F238E27FC236}">
                <a16:creationId xmlns:a16="http://schemas.microsoft.com/office/drawing/2014/main" id="{A3E65858-5665-FDF8-1CE4-8C4BDA43C455}"/>
              </a:ext>
            </a:extLst>
          </p:cNvPr>
          <p:cNvSpPr/>
          <p:nvPr/>
        </p:nvSpPr>
        <p:spPr>
          <a:xfrm>
            <a:off x="3935760" y="1251858"/>
            <a:ext cx="1152127" cy="2400753"/>
          </a:xfrm>
          <a:prstGeom prst="leftBrace">
            <a:avLst>
              <a:gd name="adj1" fmla="val 8333"/>
              <a:gd name="adj2" fmla="val 50319"/>
            </a:avLst>
          </a:prstGeom>
          <a:ln w="38100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4" name="Picture 31">
            <a:extLst>
              <a:ext uri="{FF2B5EF4-FFF2-40B4-BE49-F238E27FC236}">
                <a16:creationId xmlns:a16="http://schemas.microsoft.com/office/drawing/2014/main" id="{6C4411CA-1E4D-15EC-D195-4D68F0E44EA7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591185">
            <a:off x="3122293" y="4189122"/>
            <a:ext cx="1662397" cy="205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833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>
            <a:extLst>
              <a:ext uri="{FF2B5EF4-FFF2-40B4-BE49-F238E27FC236}">
                <a16:creationId xmlns:a16="http://schemas.microsoft.com/office/drawing/2014/main" id="{39D40EE7-F0CF-4FF7-9F8B-615C670E2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1504" y="110376"/>
            <a:ext cx="8712968" cy="719138"/>
          </a:xfrm>
        </p:spPr>
        <p:txBody>
          <a:bodyPr>
            <a:normAutofit/>
          </a:bodyPr>
          <a:lstStyle/>
          <a:p>
            <a:r>
              <a:rPr lang="it-IT" sz="3200" dirty="0"/>
              <a:t>Cosa possiamo fare per migliorare?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C36611F4-9461-4051-8C93-C775C8D8D385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6DE71060-84BE-4F8D-AE20-4E14D745EF8A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magine 1">
            <a:extLst>
              <a:ext uri="{FF2B5EF4-FFF2-40B4-BE49-F238E27FC236}">
                <a16:creationId xmlns:a16="http://schemas.microsoft.com/office/drawing/2014/main" id="{B799827B-7C19-EA07-B9E3-B7913D85E20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0978" y="1628799"/>
            <a:ext cx="4015045" cy="4335117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F58F8953-DF3E-3CE1-6B1E-A20F62DDC3F0}"/>
              </a:ext>
            </a:extLst>
          </p:cNvPr>
          <p:cNvSpPr txBox="1"/>
          <p:nvPr/>
        </p:nvSpPr>
        <p:spPr>
          <a:xfrm>
            <a:off x="587375" y="1052736"/>
            <a:ext cx="11197257" cy="5170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2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NRR - Linee di investimento per la Componente 1 della Missione 4</a:t>
            </a:r>
            <a:r>
              <a:rPr lang="it-IT" sz="2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it-IT" sz="2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22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€ 19.436 mln</a:t>
            </a:r>
            <a:endParaRPr lang="it-IT" sz="22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it-IT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b="1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</a:t>
            </a:r>
            <a:r>
              <a:rPr lang="it-IT" sz="16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uzione dei divari territoriali </a:t>
            </a:r>
          </a:p>
          <a:p>
            <a:pPr algn="just"/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it-IT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4C1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I) </a:t>
            </a:r>
            <a:r>
              <a:rPr lang="it-IT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500 mln 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inoltre 750 mln PON e 240 mln da L. bilancio 2021) </a:t>
            </a:r>
          </a:p>
          <a:p>
            <a:pPr algn="just"/>
            <a:endParaRPr lang="it-IT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uola 4.0 - scuole innovative, nuove aule didattiche e laboratori </a:t>
            </a:r>
            <a:endParaRPr lang="it-IT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it-IT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4C1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I 3.2-4,19) </a:t>
            </a:r>
            <a:r>
              <a:rPr lang="it-IT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.100 mln</a:t>
            </a:r>
          </a:p>
          <a:p>
            <a:pPr algn="just"/>
            <a:endParaRPr lang="it-IT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dattica digitale integrata e formazione del personale scolastico </a:t>
            </a:r>
            <a:endParaRPr lang="it-IT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it-IT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4C1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I 2.1-13) </a:t>
            </a:r>
            <a:r>
              <a:rPr lang="it-IT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00 mln</a:t>
            </a:r>
            <a:endParaRPr lang="it-IT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algn="just"/>
            <a:r>
              <a:rPr lang="it-IT" sz="16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ove competenze e nuovi linguaggi </a:t>
            </a:r>
            <a:endParaRPr lang="it-IT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it-IT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4C1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I 3.1-16-17) </a:t>
            </a:r>
            <a:r>
              <a:rPr lang="it-IT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100 mln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algn="just"/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enti investimenti economici non bastano a migliorare</a:t>
            </a:r>
            <a:r>
              <a:rPr lang="it-IT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just"/>
            <a:r>
              <a:rPr lang="it-IT" sz="18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n vi è correlazione fra spesa e miglioramento, anzi i consistenti stanziamenti economici nei contesti problematici diventano una parte dei problemi da risolvere. </a:t>
            </a:r>
          </a:p>
          <a:p>
            <a:pPr algn="just"/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31">
            <a:extLst>
              <a:ext uri="{FF2B5EF4-FFF2-40B4-BE49-F238E27FC236}">
                <a16:creationId xmlns:a16="http://schemas.microsoft.com/office/drawing/2014/main" id="{639A752D-CE57-C5B9-3035-7B3ADD225DD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349367">
            <a:off x="6984096" y="1543616"/>
            <a:ext cx="1265710" cy="1560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357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346A47C-2072-1D46-3807-116556744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65" y="238299"/>
            <a:ext cx="11377264" cy="498999"/>
          </a:xfrm>
        </p:spPr>
        <p:txBody>
          <a:bodyPr>
            <a:normAutofit fontScale="90000"/>
          </a:bodyPr>
          <a:lstStyle/>
          <a:p>
            <a:pPr algn="ctr"/>
            <a:r>
              <a:rPr lang="it-IT" sz="3200" dirty="0">
                <a:solidFill>
                  <a:srgbClr val="009A44"/>
                </a:solidFill>
                <a:latin typeface="Arial" pitchFamily="34" charset="0"/>
                <a:cs typeface="Arial" pitchFamily="34" charset="0"/>
              </a:rPr>
              <a:t>Analisi diacronica</a:t>
            </a:r>
          </a:p>
        </p:txBody>
      </p:sp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17DC2473-38EA-4659-213B-318CF1D683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9582" y="960582"/>
            <a:ext cx="9411033" cy="5723251"/>
          </a:xfrm>
          <a:prstGeom prst="rect">
            <a:avLst/>
          </a:prstGeom>
        </p:spPr>
      </p:pic>
      <p:pic>
        <p:nvPicPr>
          <p:cNvPr id="6" name="Picture 31">
            <a:extLst>
              <a:ext uri="{FF2B5EF4-FFF2-40B4-BE49-F238E27FC236}">
                <a16:creationId xmlns:a16="http://schemas.microsoft.com/office/drawing/2014/main" id="{29649153-4B33-95CB-9112-5D4AB32D4BF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647955">
            <a:off x="1082140" y="5533655"/>
            <a:ext cx="1265710" cy="1560871"/>
          </a:xfrm>
          <a:prstGeom prst="rect">
            <a:avLst/>
          </a:prstGeom>
        </p:spPr>
      </p:pic>
      <p:pic>
        <p:nvPicPr>
          <p:cNvPr id="7" name="Picture 31">
            <a:extLst>
              <a:ext uri="{FF2B5EF4-FFF2-40B4-BE49-F238E27FC236}">
                <a16:creationId xmlns:a16="http://schemas.microsoft.com/office/drawing/2014/main" id="{2DD032D8-8BE7-AB06-A8C4-2A6D3FB0ED7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738798">
            <a:off x="1832656" y="983123"/>
            <a:ext cx="1265710" cy="1560871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C226FEFC-AC84-DC9C-6400-2AFFF3C27056}"/>
              </a:ext>
            </a:extLst>
          </p:cNvPr>
          <p:cNvSpPr txBox="1"/>
          <p:nvPr/>
        </p:nvSpPr>
        <p:spPr>
          <a:xfrm>
            <a:off x="88458" y="4510733"/>
            <a:ext cx="190859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/>
              <a:t>Dati INVALSI</a:t>
            </a:r>
            <a:r>
              <a:rPr lang="it-IT" sz="1400" dirty="0"/>
              <a:t> Risultati nelle prove standardizzate di italiano e matematica in sequenza storica dal 2013 al 2019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F3C1FA6C-7D15-5A66-6DA1-43191EAA0591}"/>
              </a:ext>
            </a:extLst>
          </p:cNvPr>
          <p:cNvSpPr txBox="1"/>
          <p:nvPr/>
        </p:nvSpPr>
        <p:spPr>
          <a:xfrm>
            <a:off x="36783" y="1942302"/>
            <a:ext cx="2141126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err="1"/>
              <a:t>G02</a:t>
            </a:r>
            <a:r>
              <a:rPr lang="it-IT" sz="1400" b="1" dirty="0"/>
              <a:t> </a:t>
            </a:r>
            <a:r>
              <a:rPr lang="it-IT" sz="1400" dirty="0"/>
              <a:t>= classe II primaria</a:t>
            </a:r>
          </a:p>
          <a:p>
            <a:endParaRPr lang="it-IT" sz="1400" dirty="0"/>
          </a:p>
          <a:p>
            <a:r>
              <a:rPr lang="it-IT" sz="1400" b="1" dirty="0" err="1"/>
              <a:t>G05</a:t>
            </a:r>
            <a:r>
              <a:rPr lang="it-IT" sz="1400" dirty="0"/>
              <a:t> = classe V primaria</a:t>
            </a:r>
          </a:p>
          <a:p>
            <a:endParaRPr lang="it-IT" sz="1400" dirty="0"/>
          </a:p>
          <a:p>
            <a:r>
              <a:rPr lang="it-IT" sz="1400" b="1" dirty="0" err="1"/>
              <a:t>G08</a:t>
            </a:r>
            <a:r>
              <a:rPr lang="it-IT" sz="1400" dirty="0"/>
              <a:t> = classe III secondaria I grado</a:t>
            </a:r>
          </a:p>
          <a:p>
            <a:endParaRPr lang="it-IT" sz="1400" dirty="0"/>
          </a:p>
          <a:p>
            <a:r>
              <a:rPr lang="it-IT" sz="1400" b="1" dirty="0" err="1"/>
              <a:t>G10</a:t>
            </a:r>
            <a:r>
              <a:rPr lang="it-IT" sz="1400" dirty="0"/>
              <a:t> = classe II secondaria II grado</a:t>
            </a:r>
          </a:p>
          <a:p>
            <a:endParaRPr lang="it-IT" sz="1200" dirty="0"/>
          </a:p>
          <a:p>
            <a:endParaRPr lang="it-IT" sz="1200" dirty="0"/>
          </a:p>
        </p:txBody>
      </p:sp>
      <p:cxnSp>
        <p:nvCxnSpPr>
          <p:cNvPr id="11" name="Straight Connector 9">
            <a:extLst>
              <a:ext uri="{FF2B5EF4-FFF2-40B4-BE49-F238E27FC236}">
                <a16:creationId xmlns:a16="http://schemas.microsoft.com/office/drawing/2014/main" id="{A7D60B47-84C2-4BBB-9BFA-54146FA47B61}"/>
              </a:ext>
            </a:extLst>
          </p:cNvPr>
          <p:cNvCxnSpPr>
            <a:cxnSpLocks/>
          </p:cNvCxnSpPr>
          <p:nvPr/>
        </p:nvCxnSpPr>
        <p:spPr>
          <a:xfrm>
            <a:off x="407368" y="828943"/>
            <a:ext cx="11426269" cy="19991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7344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5">
            <a:extLst>
              <a:ext uri="{FF2B5EF4-FFF2-40B4-BE49-F238E27FC236}">
                <a16:creationId xmlns:a16="http://schemas.microsoft.com/office/drawing/2014/main" id="{554D6954-8A07-4F87-BFA7-EBAE35205D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482993"/>
              </p:ext>
            </p:extLst>
          </p:nvPr>
        </p:nvGraphicFramePr>
        <p:xfrm>
          <a:off x="2099555" y="1134262"/>
          <a:ext cx="7992889" cy="3606424"/>
        </p:xfrm>
        <a:graphic>
          <a:graphicData uri="http://schemas.openxmlformats.org/drawingml/2006/table">
            <a:tbl>
              <a:tblPr firstRow="1" firstCol="1" bandRow="1">
                <a:tableStyleId>{1E171933-4619-4E11-9A3F-F7608DF75F80}</a:tableStyleId>
              </a:tblPr>
              <a:tblGrid>
                <a:gridCol w="1915088">
                  <a:extLst>
                    <a:ext uri="{9D8B030D-6E8A-4147-A177-3AD203B41FA5}">
                      <a16:colId xmlns:a16="http://schemas.microsoft.com/office/drawing/2014/main" val="4115444776"/>
                    </a:ext>
                  </a:extLst>
                </a:gridCol>
                <a:gridCol w="2887039">
                  <a:extLst>
                    <a:ext uri="{9D8B030D-6E8A-4147-A177-3AD203B41FA5}">
                      <a16:colId xmlns:a16="http://schemas.microsoft.com/office/drawing/2014/main" val="1186059087"/>
                    </a:ext>
                  </a:extLst>
                </a:gridCol>
                <a:gridCol w="3190762">
                  <a:extLst>
                    <a:ext uri="{9D8B030D-6E8A-4147-A177-3AD203B41FA5}">
                      <a16:colId xmlns:a16="http://schemas.microsoft.com/office/drawing/2014/main" val="1393097611"/>
                    </a:ext>
                  </a:extLst>
                </a:gridCol>
              </a:tblGrid>
              <a:tr h="612664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  <a:effectLst/>
                        </a:rPr>
                        <a:t>ESCS</a:t>
                      </a:r>
                      <a:endParaRPr lang="it-IT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  <a:effectLst/>
                        </a:rPr>
                        <a:t>Scuole </a:t>
                      </a:r>
                    </a:p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  <a:effectLst/>
                        </a:rPr>
                        <a:t>in forte difficoltà</a:t>
                      </a:r>
                      <a:endParaRPr lang="it-IT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  <a:effectLst/>
                        </a:rPr>
                        <a:t>Tutte </a:t>
                      </a:r>
                    </a:p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  <a:effectLst/>
                        </a:rPr>
                        <a:t>le altre scuole</a:t>
                      </a:r>
                      <a:endParaRPr lang="it-IT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37217"/>
                  </a:ext>
                </a:extLst>
              </a:tr>
              <a:tr h="748440">
                <a:tc>
                  <a:txBody>
                    <a:bodyPr/>
                    <a:lstStyle/>
                    <a:p>
                      <a:pPr algn="ctr"/>
                      <a:endParaRPr lang="it-IT" sz="1600" b="1" dirty="0">
                        <a:solidFill>
                          <a:srgbClr val="FF0000"/>
                        </a:solidFill>
                        <a:effectLst/>
                      </a:endParaRPr>
                    </a:p>
                    <a:p>
                      <a:pPr algn="ctr"/>
                      <a:r>
                        <a:rPr lang="it-IT" sz="1600" b="1" dirty="0">
                          <a:solidFill>
                            <a:srgbClr val="FF0000"/>
                          </a:solidFill>
                          <a:effectLst/>
                        </a:rPr>
                        <a:t>Basso</a:t>
                      </a:r>
                    </a:p>
                    <a:p>
                      <a:pPr algn="ctr"/>
                      <a:endParaRPr lang="it-IT" sz="16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1" dirty="0">
                          <a:solidFill>
                            <a:srgbClr val="FF0000"/>
                          </a:solidFill>
                          <a:effectLst/>
                        </a:rPr>
                        <a:t>100,0</a:t>
                      </a:r>
                      <a:endParaRPr lang="it-IT" sz="16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>
                          <a:solidFill>
                            <a:srgbClr val="002060"/>
                          </a:solidFill>
                          <a:effectLst/>
                        </a:rPr>
                        <a:t>25,5</a:t>
                      </a:r>
                      <a:endParaRPr lang="it-IT" sz="1600" b="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815835339"/>
                  </a:ext>
                </a:extLst>
              </a:tr>
              <a:tr h="748440"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effectLst/>
                      </a:endParaRPr>
                    </a:p>
                    <a:p>
                      <a:pPr algn="ctr"/>
                      <a:r>
                        <a:rPr lang="it-IT" sz="1600" dirty="0">
                          <a:effectLst/>
                        </a:rPr>
                        <a:t>Medio-Basso</a:t>
                      </a:r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effectLst/>
                        </a:rPr>
                        <a:t>0,0</a:t>
                      </a:r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effectLst/>
                        </a:rPr>
                        <a:t>26,4</a:t>
                      </a:r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285425"/>
                  </a:ext>
                </a:extLst>
              </a:tr>
              <a:tr h="748440"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effectLst/>
                      </a:endParaRPr>
                    </a:p>
                    <a:p>
                      <a:pPr algn="ctr"/>
                      <a:r>
                        <a:rPr lang="it-IT" sz="1600" dirty="0">
                          <a:effectLst/>
                        </a:rPr>
                        <a:t>Medio-Alto</a:t>
                      </a:r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>
                          <a:effectLst/>
                        </a:rPr>
                        <a:t>0,0</a:t>
                      </a:r>
                      <a:endParaRPr lang="it-IT" sz="16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>
                          <a:effectLst/>
                        </a:rPr>
                        <a:t>21,1</a:t>
                      </a:r>
                      <a:endParaRPr lang="it-IT" sz="16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3729381843"/>
                  </a:ext>
                </a:extLst>
              </a:tr>
              <a:tr h="748440"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effectLst/>
                      </a:endParaRPr>
                    </a:p>
                    <a:p>
                      <a:pPr algn="ctr"/>
                      <a:r>
                        <a:rPr lang="it-IT" sz="1600" dirty="0">
                          <a:effectLst/>
                        </a:rPr>
                        <a:t>Alto</a:t>
                      </a:r>
                    </a:p>
                    <a:p>
                      <a:pPr algn="ctr"/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>
                          <a:effectLst/>
                        </a:rPr>
                        <a:t>0,0</a:t>
                      </a:r>
                      <a:endParaRPr lang="it-IT" sz="16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effectLst/>
                        </a:rPr>
                        <a:t>24,9</a:t>
                      </a:r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4015026408"/>
                  </a:ext>
                </a:extLst>
              </a:tr>
            </a:tbl>
          </a:graphicData>
        </a:graphic>
      </p:graphicFrame>
      <p:pic>
        <p:nvPicPr>
          <p:cNvPr id="7" name="Picture 31">
            <a:extLst>
              <a:ext uri="{FF2B5EF4-FFF2-40B4-BE49-F238E27FC236}">
                <a16:creationId xmlns:a16="http://schemas.microsoft.com/office/drawing/2014/main" id="{45EE7833-464B-4D75-87D7-AAE0430655E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18312" y="1339020"/>
            <a:ext cx="1396414" cy="1786254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E3387A0B-B009-4FDF-A967-AAA8DCB05D04}"/>
              </a:ext>
            </a:extLst>
          </p:cNvPr>
          <p:cNvSpPr/>
          <p:nvPr/>
        </p:nvSpPr>
        <p:spPr>
          <a:xfrm>
            <a:off x="551384" y="4766991"/>
            <a:ext cx="11449272" cy="103827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stituzione, art. 3:  </a:t>
            </a:r>
            <a:r>
              <a:rPr kumimoji="0" lang="it-IT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È compito della Repubblica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muovere gli ostacoli di ordine economico e sociale, </a:t>
            </a:r>
            <a:r>
              <a:rPr kumimoji="0" lang="it-IT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e, limitando di fatto la libertà e l'eguaglianza dei cittadini, impediscono il pieno sviluppo della persona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…»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EA8A5D95-CF5F-AFA2-FF9C-C2163E1DC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65" y="238299"/>
            <a:ext cx="11377264" cy="498999"/>
          </a:xfrm>
        </p:spPr>
        <p:txBody>
          <a:bodyPr>
            <a:normAutofit fontScale="90000"/>
          </a:bodyPr>
          <a:lstStyle/>
          <a:p>
            <a:pPr algn="ctr"/>
            <a:r>
              <a:rPr lang="it-IT" sz="3200" dirty="0"/>
              <a:t>Analisi di contesto</a:t>
            </a:r>
            <a:endParaRPr lang="it-IT" sz="3200" dirty="0">
              <a:solidFill>
                <a:srgbClr val="009A44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006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184E2C5D-67D5-4B15-88E0-EF2A8DA9030E}"/>
              </a:ext>
            </a:extLst>
          </p:cNvPr>
          <p:cNvSpPr txBox="1">
            <a:spLocks/>
          </p:cNvSpPr>
          <p:nvPr/>
        </p:nvSpPr>
        <p:spPr bwMode="black">
          <a:xfrm>
            <a:off x="551384" y="383588"/>
            <a:ext cx="11017224" cy="408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it-IT" altLang="it-IT" sz="3200" b="1" dirty="0">
                <a:solidFill>
                  <a:srgbClr val="009A44"/>
                </a:solidFill>
              </a:rPr>
              <a:t>Dall’aula alla comunità educante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5FE42555-82E5-4285-9390-2952A84A76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3228" y="908720"/>
            <a:ext cx="7815749" cy="5163760"/>
          </a:xfrm>
          <a:prstGeom prst="rect">
            <a:avLst/>
          </a:prstGeom>
        </p:spPr>
      </p:pic>
      <p:pic>
        <p:nvPicPr>
          <p:cNvPr id="3" name="Picture 31">
            <a:extLst>
              <a:ext uri="{FF2B5EF4-FFF2-40B4-BE49-F238E27FC236}">
                <a16:creationId xmlns:a16="http://schemas.microsoft.com/office/drawing/2014/main" id="{4E819A30-5BD6-6FEE-8F88-7543C0F3ECE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337123">
            <a:off x="8236549" y="592949"/>
            <a:ext cx="1396414" cy="178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024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black">
          <a:xfrm>
            <a:off x="1524000" y="19665"/>
            <a:ext cx="7542331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511717" eaLnBrk="1" fontAlgn="base" hangingPunct="1">
              <a:spcBef>
                <a:spcPct val="0"/>
              </a:spcBef>
              <a:spcAft>
                <a:spcPct val="0"/>
              </a:spcAft>
            </a:pPr>
            <a:endParaRPr lang="it-IT" altLang="it-IT" sz="2500" b="1" dirty="0">
              <a:solidFill>
                <a:srgbClr val="0A7736"/>
              </a:solidFill>
              <a:latin typeface="Georgia" panose="02040502050405020303" pitchFamily="18" charset="0"/>
              <a:ea typeface="HP Simplified"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4338777E-062F-43C5-B68E-1F9096BE50BB}"/>
              </a:ext>
            </a:extLst>
          </p:cNvPr>
          <p:cNvSpPr/>
          <p:nvPr/>
        </p:nvSpPr>
        <p:spPr>
          <a:xfrm>
            <a:off x="2090556" y="2460789"/>
            <a:ext cx="6291445" cy="372408"/>
          </a:xfrm>
          <a:prstGeom prst="rect">
            <a:avLst/>
          </a:prstGeom>
        </p:spPr>
        <p:txBody>
          <a:bodyPr wrap="square" lIns="64005" tIns="32003" rIns="64005" bIns="32003">
            <a:spAutoFit/>
          </a:bodyPr>
          <a:lstStyle/>
          <a:p>
            <a:pPr defTabSz="1023440"/>
            <a:endParaRPr lang="it-IT" sz="2000" dirty="0">
              <a:solidFill>
                <a:prstClr val="black"/>
              </a:solidFill>
              <a:latin typeface="Georgia" panose="02040502050405020303" pitchFamily="18" charset="0"/>
            </a:endParaRPr>
          </a:p>
        </p:txBody>
      </p: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1B7F83BA-CAE6-45FE-BCA8-33CC317E877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7">
            <a:extLst>
              <a:ext uri="{FF2B5EF4-FFF2-40B4-BE49-F238E27FC236}">
                <a16:creationId xmlns:a16="http://schemas.microsoft.com/office/drawing/2014/main" id="{3DF041B9-4B51-4F49-9406-03C71E856370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D0AFBBE8-8DA3-475B-BC42-0AD53E4ECB6D}"/>
              </a:ext>
            </a:extLst>
          </p:cNvPr>
          <p:cNvSpPr txBox="1"/>
          <p:nvPr/>
        </p:nvSpPr>
        <p:spPr>
          <a:xfrm>
            <a:off x="2638599" y="154031"/>
            <a:ext cx="67687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3200" b="1" dirty="0">
                <a:solidFill>
                  <a:srgbClr val="0086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 prima </a:t>
            </a:r>
            <a:r>
              <a:rPr lang="en-US" sz="3200" b="1" dirty="0" err="1">
                <a:solidFill>
                  <a:srgbClr val="0086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posta</a:t>
            </a:r>
            <a:r>
              <a:rPr lang="en-US" sz="3200" b="1" dirty="0">
                <a:solidFill>
                  <a:srgbClr val="0086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en-US" sz="3200" b="1" dirty="0" err="1">
                <a:solidFill>
                  <a:srgbClr val="0086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efficace</a:t>
            </a:r>
            <a:endParaRPr lang="it-IT" sz="3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72F17B16-3359-ECE0-B7A1-DAF844C088E3}"/>
              </a:ext>
            </a:extLst>
          </p:cNvPr>
          <p:cNvSpPr txBox="1"/>
          <p:nvPr/>
        </p:nvSpPr>
        <p:spPr>
          <a:xfrm>
            <a:off x="3972324" y="5082646"/>
            <a:ext cx="780331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/>
            <a:r>
              <a:rPr lang="it-IT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 Italia l’analfabetismo funzionale tra i 16 e i 65 anni è del 27,9% </a:t>
            </a:r>
          </a:p>
          <a:p>
            <a:pPr algn="ctr" fontAlgn="base"/>
            <a:r>
              <a:rPr lang="it-IT" sz="2000" b="1" dirty="0">
                <a:solidFill>
                  <a:srgbClr val="009A44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irca 3 Italiani su 10 sono analfabeti di ritorno</a:t>
            </a:r>
          </a:p>
          <a:p>
            <a:pPr algn="ctr" fontAlgn="base"/>
            <a:r>
              <a:rPr lang="it-IT" sz="1600" b="1" dirty="0" err="1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IAAC</a:t>
            </a:r>
            <a:r>
              <a:rPr lang="it-IT" sz="1600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 </a:t>
            </a:r>
            <a:r>
              <a:rPr lang="it-IT" sz="16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gramme</a:t>
            </a:r>
            <a:r>
              <a:rPr lang="it-IT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for the International </a:t>
            </a:r>
            <a:r>
              <a:rPr lang="it-IT" sz="16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ssessment</a:t>
            </a:r>
            <a:r>
              <a:rPr lang="it-IT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of </a:t>
            </a:r>
            <a:r>
              <a:rPr lang="it-IT" sz="16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dult</a:t>
            </a:r>
            <a:r>
              <a:rPr lang="it-IT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it-IT" sz="16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mpetencies</a:t>
            </a:r>
            <a:r>
              <a:rPr lang="it-IT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2016)</a:t>
            </a:r>
          </a:p>
          <a:p>
            <a:pPr algn="ctr" fontAlgn="base"/>
            <a:r>
              <a:rPr lang="it-IT" sz="2000" dirty="0">
                <a:solidFill>
                  <a:srgbClr val="009A44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44953122-69DD-5D46-E344-51B1B2DED2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6733" y="1109075"/>
            <a:ext cx="7803312" cy="3818296"/>
          </a:xfrm>
          <a:prstGeom prst="rect">
            <a:avLst/>
          </a:prstGeom>
        </p:spPr>
      </p:pic>
      <p:sp>
        <p:nvSpPr>
          <p:cNvPr id="7" name="Callout: linea piegata senza bordo 6">
            <a:extLst>
              <a:ext uri="{FF2B5EF4-FFF2-40B4-BE49-F238E27FC236}">
                <a16:creationId xmlns:a16="http://schemas.microsoft.com/office/drawing/2014/main" id="{AA5EB6D3-1217-C350-A67F-27D24D38CB44}"/>
              </a:ext>
            </a:extLst>
          </p:cNvPr>
          <p:cNvSpPr/>
          <p:nvPr/>
        </p:nvSpPr>
        <p:spPr>
          <a:xfrm>
            <a:off x="6764192" y="3588373"/>
            <a:ext cx="1593486" cy="564169"/>
          </a:xfrm>
          <a:prstGeom prst="callout2">
            <a:avLst>
              <a:gd name="adj1" fmla="val 56184"/>
              <a:gd name="adj2" fmla="val 6135"/>
              <a:gd name="adj3" fmla="val 55502"/>
              <a:gd name="adj4" fmla="val -50085"/>
              <a:gd name="adj5" fmla="val -266315"/>
              <a:gd name="adj6" fmla="val -101730"/>
            </a:avLst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Punteggio non corrett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A660961-88A5-7F15-BA18-7066D135438F}"/>
              </a:ext>
            </a:extLst>
          </p:cNvPr>
          <p:cNvSpPr txBox="1"/>
          <p:nvPr/>
        </p:nvSpPr>
        <p:spPr>
          <a:xfrm>
            <a:off x="587376" y="1179546"/>
            <a:ext cx="3227278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.M. 170/2022</a:t>
            </a:r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1800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Istruzioni operative» </a:t>
            </a:r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/12/2022</a:t>
            </a:r>
          </a:p>
          <a:p>
            <a:pPr algn="just"/>
            <a:endParaRPr lang="it-IT" sz="24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rget </a:t>
            </a:r>
            <a:endParaRPr lang="it-I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8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valore numerico risulta </a:t>
            </a:r>
            <a:r>
              <a:rPr lang="it-IT" sz="18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ià precompilato da sistema</a:t>
            </a:r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 il target definito in proporzione al numero di alunni frequentanti, alla percentuale di fragilità e al finanziamento ricevuto. </a:t>
            </a:r>
          </a:p>
          <a:p>
            <a:pPr algn="just"/>
            <a:endParaRPr lang="it-IT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mero di studenti che hanno frequentato le attività</a:t>
            </a: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AA188887-C396-498C-05FD-3ACF4907E290}"/>
              </a:ext>
            </a:extLst>
          </p:cNvPr>
          <p:cNvSpPr/>
          <p:nvPr/>
        </p:nvSpPr>
        <p:spPr>
          <a:xfrm rot="5400000">
            <a:off x="3630466" y="2793154"/>
            <a:ext cx="2986852" cy="504056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37700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 animBg="1"/>
      <p:bldP spid="11" grpId="0"/>
      <p:bldP spid="1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black">
          <a:xfrm>
            <a:off x="1524000" y="19665"/>
            <a:ext cx="7542331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511717" eaLnBrk="1" fontAlgn="base" hangingPunct="1">
              <a:spcBef>
                <a:spcPct val="0"/>
              </a:spcBef>
              <a:spcAft>
                <a:spcPct val="0"/>
              </a:spcAft>
            </a:pPr>
            <a:endParaRPr lang="it-IT" altLang="it-IT" sz="2500" b="1" dirty="0">
              <a:solidFill>
                <a:srgbClr val="0A7736"/>
              </a:solidFill>
              <a:latin typeface="Georgia" panose="02040502050405020303" pitchFamily="18" charset="0"/>
              <a:ea typeface="HP Simplified"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4338777E-062F-43C5-B68E-1F9096BE50BB}"/>
              </a:ext>
            </a:extLst>
          </p:cNvPr>
          <p:cNvSpPr/>
          <p:nvPr/>
        </p:nvSpPr>
        <p:spPr>
          <a:xfrm>
            <a:off x="2090556" y="2460789"/>
            <a:ext cx="6291445" cy="372408"/>
          </a:xfrm>
          <a:prstGeom prst="rect">
            <a:avLst/>
          </a:prstGeom>
        </p:spPr>
        <p:txBody>
          <a:bodyPr wrap="square" lIns="64005" tIns="32003" rIns="64005" bIns="32003">
            <a:spAutoFit/>
          </a:bodyPr>
          <a:lstStyle/>
          <a:p>
            <a:pPr defTabSz="1023440"/>
            <a:endParaRPr lang="it-IT" sz="2000" dirty="0">
              <a:solidFill>
                <a:prstClr val="black"/>
              </a:solidFill>
              <a:latin typeface="Georgia" panose="02040502050405020303" pitchFamily="18" charset="0"/>
            </a:endParaRPr>
          </a:p>
        </p:txBody>
      </p: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1B7F83BA-CAE6-45FE-BCA8-33CC317E877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7">
            <a:extLst>
              <a:ext uri="{FF2B5EF4-FFF2-40B4-BE49-F238E27FC236}">
                <a16:creationId xmlns:a16="http://schemas.microsoft.com/office/drawing/2014/main" id="{3DF041B9-4B51-4F49-9406-03C71E856370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D0AFBBE8-8DA3-475B-BC42-0AD53E4ECB6D}"/>
              </a:ext>
            </a:extLst>
          </p:cNvPr>
          <p:cNvSpPr txBox="1"/>
          <p:nvPr/>
        </p:nvSpPr>
        <p:spPr>
          <a:xfrm>
            <a:off x="587375" y="154031"/>
            <a:ext cx="11017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3200" b="1" dirty="0">
                <a:solidFill>
                  <a:srgbClr val="0086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 </a:t>
            </a:r>
            <a:r>
              <a:rPr lang="it-IT" sz="3200" b="1" dirty="0">
                <a:solidFill>
                  <a:srgbClr val="0086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a risposta - efficace</a:t>
            </a:r>
            <a:endParaRPr lang="it-IT" sz="3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Grafico 9">
            <a:extLst>
              <a:ext uri="{FF2B5EF4-FFF2-40B4-BE49-F238E27FC236}">
                <a16:creationId xmlns:a16="http://schemas.microsoft.com/office/drawing/2014/main" id="{D64C73A2-42A3-B296-F433-D830A397CDD3}"/>
              </a:ext>
            </a:extLst>
          </p:cNvPr>
          <p:cNvGraphicFramePr/>
          <p:nvPr/>
        </p:nvGraphicFramePr>
        <p:xfrm>
          <a:off x="1302328" y="996358"/>
          <a:ext cx="9587344" cy="44336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itolo 1">
            <a:extLst>
              <a:ext uri="{FF2B5EF4-FFF2-40B4-BE49-F238E27FC236}">
                <a16:creationId xmlns:a16="http://schemas.microsoft.com/office/drawing/2014/main" id="{7439F1BD-900D-2B35-45E9-DED2C5946F1B}"/>
              </a:ext>
            </a:extLst>
          </p:cNvPr>
          <p:cNvSpPr txBox="1">
            <a:spLocks/>
          </p:cNvSpPr>
          <p:nvPr/>
        </p:nvSpPr>
        <p:spPr>
          <a:xfrm>
            <a:off x="695400" y="5429993"/>
            <a:ext cx="11017250" cy="493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1400" dirty="0">
                <a:solidFill>
                  <a:srgbClr val="0070C0"/>
                </a:solidFill>
                <a:latin typeface="+mn-lt"/>
              </a:rPr>
              <a:t>Rielaborazione</a:t>
            </a:r>
            <a:r>
              <a:rPr lang="it-IT" sz="1400" dirty="0">
                <a:latin typeface="+mn-lt"/>
              </a:rPr>
              <a:t> da fonte: D. </a:t>
            </a:r>
            <a:r>
              <a:rPr lang="it-IT" sz="1400" dirty="0" err="1">
                <a:latin typeface="+mn-lt"/>
              </a:rPr>
              <a:t>Maziana</a:t>
            </a:r>
            <a:r>
              <a:rPr lang="it-IT" sz="1400" dirty="0">
                <a:latin typeface="+mn-lt"/>
              </a:rPr>
              <a:t>, S. </a:t>
            </a:r>
            <a:r>
              <a:rPr lang="it-IT" sz="1400" dirty="0" err="1">
                <a:latin typeface="+mn-lt"/>
              </a:rPr>
              <a:t>Poy</a:t>
            </a:r>
            <a:r>
              <a:rPr lang="it-IT" sz="1400" dirty="0">
                <a:latin typeface="+mn-lt"/>
              </a:rPr>
              <a:t>, A. Rosina, E. Sironi. </a:t>
            </a:r>
            <a:r>
              <a:rPr lang="it-IT" sz="1400" dirty="0">
                <a:solidFill>
                  <a:srgbClr val="0070C0"/>
                </a:solidFill>
                <a:latin typeface="+mn-lt"/>
              </a:rPr>
              <a:t>https://www.iprase.tn.it/documents/20178/1593139/12+Alternanza+e+soft+skills  </a:t>
            </a:r>
          </a:p>
        </p:txBody>
      </p:sp>
    </p:spTree>
    <p:extLst>
      <p:ext uri="{BB962C8B-B14F-4D97-AF65-F5344CB8AC3E}">
        <p14:creationId xmlns:p14="http://schemas.microsoft.com/office/powerpoint/2010/main" val="30999475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184E2C5D-67D5-4B15-88E0-EF2A8DA9030E}"/>
              </a:ext>
            </a:extLst>
          </p:cNvPr>
          <p:cNvSpPr txBox="1">
            <a:spLocks/>
          </p:cNvSpPr>
          <p:nvPr/>
        </p:nvSpPr>
        <p:spPr bwMode="black">
          <a:xfrm>
            <a:off x="623392" y="260648"/>
            <a:ext cx="11017224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US" sz="2800" b="1" dirty="0" err="1">
                <a:solidFill>
                  <a:srgbClr val="009A44"/>
                </a:solidFill>
              </a:rPr>
              <a:t>Rapporto</a:t>
            </a:r>
            <a:r>
              <a:rPr lang="en-US" sz="2800" b="1" dirty="0">
                <a:solidFill>
                  <a:srgbClr val="009A44"/>
                </a:solidFill>
              </a:rPr>
              <a:t> </a:t>
            </a:r>
            <a:r>
              <a:rPr lang="en-US" sz="2800" b="1" dirty="0" err="1">
                <a:solidFill>
                  <a:srgbClr val="009A44"/>
                </a:solidFill>
              </a:rPr>
              <a:t>tra</a:t>
            </a:r>
            <a:r>
              <a:rPr lang="en-US" sz="2800" b="1" dirty="0">
                <a:solidFill>
                  <a:srgbClr val="009A44"/>
                </a:solidFill>
              </a:rPr>
              <a:t> </a:t>
            </a:r>
            <a:r>
              <a:rPr lang="en-US" sz="2800" b="1" dirty="0" err="1">
                <a:solidFill>
                  <a:srgbClr val="009A44"/>
                </a:solidFill>
              </a:rPr>
              <a:t>competenze</a:t>
            </a:r>
            <a:r>
              <a:rPr lang="en-US" sz="2800" b="1" dirty="0">
                <a:solidFill>
                  <a:srgbClr val="009A44"/>
                </a:solidFill>
              </a:rPr>
              <a:t> </a:t>
            </a:r>
            <a:r>
              <a:rPr lang="en-US" sz="2800" b="1" dirty="0" err="1">
                <a:solidFill>
                  <a:srgbClr val="009A44"/>
                </a:solidFill>
              </a:rPr>
              <a:t>trasversali</a:t>
            </a:r>
            <a:r>
              <a:rPr lang="en-US" sz="2800" b="1" dirty="0">
                <a:solidFill>
                  <a:srgbClr val="009A44"/>
                </a:solidFill>
              </a:rPr>
              <a:t> ed </a:t>
            </a:r>
            <a:r>
              <a:rPr lang="en-US" sz="2800" b="1" dirty="0" err="1">
                <a:solidFill>
                  <a:srgbClr val="009A44"/>
                </a:solidFill>
              </a:rPr>
              <a:t>esiti</a:t>
            </a:r>
            <a:r>
              <a:rPr lang="en-US" sz="2800" b="1" dirty="0">
                <a:solidFill>
                  <a:srgbClr val="009A44"/>
                </a:solidFill>
              </a:rPr>
              <a:t> scolastici</a:t>
            </a:r>
          </a:p>
        </p:txBody>
      </p:sp>
      <p:pic>
        <p:nvPicPr>
          <p:cNvPr id="2" name="Google Shape;167;gff77f779d5_0_49">
            <a:extLst>
              <a:ext uri="{FF2B5EF4-FFF2-40B4-BE49-F238E27FC236}">
                <a16:creationId xmlns:a16="http://schemas.microsoft.com/office/drawing/2014/main" id="{FCB29230-DDBF-E2CE-B5E7-C6D16EA5A3A1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7488" y="1054750"/>
            <a:ext cx="9649072" cy="4536504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B598506C-6DDD-2930-9FE3-589593063C45}"/>
              </a:ext>
            </a:extLst>
          </p:cNvPr>
          <p:cNvSpPr txBox="1"/>
          <p:nvPr/>
        </p:nvSpPr>
        <p:spPr>
          <a:xfrm>
            <a:off x="3791744" y="5620598"/>
            <a:ext cx="6264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Fonte: Dipartimento Istruzione e Cultura, PAT, 2022</a:t>
            </a:r>
          </a:p>
        </p:txBody>
      </p:sp>
      <p:sp>
        <p:nvSpPr>
          <p:cNvPr id="3" name="Google Shape;139;gff77f779d5_0_25">
            <a:extLst>
              <a:ext uri="{FF2B5EF4-FFF2-40B4-BE49-F238E27FC236}">
                <a16:creationId xmlns:a16="http://schemas.microsoft.com/office/drawing/2014/main" id="{75B595B3-4C94-0ECE-DCE4-7EFEA984E5BA}"/>
              </a:ext>
            </a:extLst>
          </p:cNvPr>
          <p:cNvSpPr/>
          <p:nvPr/>
        </p:nvSpPr>
        <p:spPr>
          <a:xfrm>
            <a:off x="1487488" y="886954"/>
            <a:ext cx="1296144" cy="75958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70C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2939" tIns="82939" rIns="82939" bIns="82939" anchor="ctr" anchorCtr="0">
            <a:noAutofit/>
          </a:bodyPr>
          <a:lstStyle/>
          <a:p>
            <a:endParaRPr sz="1633" dirty="0"/>
          </a:p>
        </p:txBody>
      </p:sp>
    </p:spTree>
    <p:extLst>
      <p:ext uri="{BB962C8B-B14F-4D97-AF65-F5344CB8AC3E}">
        <p14:creationId xmlns:p14="http://schemas.microsoft.com/office/powerpoint/2010/main" val="21059315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C4136B4D-8560-F94C-8352-0D290DA54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375" y="1047961"/>
            <a:ext cx="6483096" cy="4762077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5220F488-E597-9735-CCAB-875C265A9669}"/>
              </a:ext>
            </a:extLst>
          </p:cNvPr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2800" b="1" dirty="0">
                <a:solidFill>
                  <a:srgbClr val="009A44"/>
                </a:solidFill>
              </a:rPr>
              <a:t>Next generation </a:t>
            </a:r>
            <a:r>
              <a:rPr lang="it-IT" sz="2800" b="1" dirty="0" err="1">
                <a:solidFill>
                  <a:srgbClr val="009A44"/>
                </a:solidFill>
              </a:rPr>
              <a:t>classrooms</a:t>
            </a:r>
            <a:r>
              <a:rPr lang="en-US" altLang="it-IT" sz="2800" b="1" dirty="0">
                <a:solidFill>
                  <a:srgbClr val="009A44"/>
                </a:solidFill>
              </a:rPr>
              <a:t>  </a:t>
            </a:r>
          </a:p>
        </p:txBody>
      </p:sp>
      <p:pic>
        <p:nvPicPr>
          <p:cNvPr id="8" name="Picture 31">
            <a:extLst>
              <a:ext uri="{FF2B5EF4-FFF2-40B4-BE49-F238E27FC236}">
                <a16:creationId xmlns:a16="http://schemas.microsoft.com/office/drawing/2014/main" id="{A63A8003-93F5-C9E9-51A8-6ED9B8CB4EE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838156">
            <a:off x="6859066" y="1466230"/>
            <a:ext cx="1417350" cy="1745002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03855287-F1D8-E7A6-C56B-6ACC5FB84165}"/>
              </a:ext>
            </a:extLst>
          </p:cNvPr>
          <p:cNvSpPr txBox="1"/>
          <p:nvPr/>
        </p:nvSpPr>
        <p:spPr>
          <a:xfrm>
            <a:off x="7772400" y="1719072"/>
            <a:ext cx="4096512" cy="338328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2800" b="1" i="1" dirty="0"/>
              <a:t>Connessioni con:</a:t>
            </a:r>
          </a:p>
          <a:p>
            <a:pPr>
              <a:spcAft>
                <a:spcPts val="600"/>
              </a:spcAft>
            </a:pPr>
            <a:endParaRPr lang="it-IT" sz="2800" b="1" i="1" dirty="0"/>
          </a:p>
          <a:p>
            <a:pPr>
              <a:spcAft>
                <a:spcPts val="600"/>
              </a:spcAft>
            </a:pPr>
            <a:r>
              <a:rPr lang="it-IT" sz="2800" i="1" dirty="0">
                <a:solidFill>
                  <a:srgbClr val="0070C0"/>
                </a:solidFill>
              </a:rPr>
              <a:t>“Intervento straordinario finalizzato alla riduzione dei divari territoriali e alla lotta alla dispersione» scolastica”, </a:t>
            </a:r>
            <a:r>
              <a:rPr lang="it-IT" sz="2800" dirty="0">
                <a:solidFill>
                  <a:srgbClr val="0070C0"/>
                </a:solidFill>
              </a:rPr>
              <a:t>Missione 4 – Componente 1 – PNRR</a:t>
            </a:r>
            <a:endParaRPr lang="it-IT" sz="2800" dirty="0">
              <a:solidFill>
                <a:srgbClr val="0070C0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600"/>
              </a:spcAft>
            </a:pPr>
            <a:endParaRPr lang="it-IT" sz="28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4570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D4B5A76-D1EE-FD93-ABEA-92CD67D566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2" y="174000"/>
            <a:ext cx="10801200" cy="720080"/>
          </a:xfrm>
        </p:spPr>
        <p:txBody>
          <a:bodyPr>
            <a:normAutofit/>
          </a:bodyPr>
          <a:lstStyle/>
          <a:p>
            <a:r>
              <a:rPr lang="it-IT" dirty="0"/>
              <a:t>Alcune risposte a partire da «</a:t>
            </a:r>
            <a:r>
              <a:rPr lang="it-IT" i="1" dirty="0"/>
              <a:t>La scuola mediterranea</a:t>
            </a:r>
            <a:r>
              <a:rPr lang="it-IT" dirty="0"/>
              <a:t>»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A599B838-D9BC-0BE8-C7B7-DBFB3AB701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1099246"/>
            <a:ext cx="3148705" cy="4706018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F2A8B15A-E6EB-229D-71AC-3597FB8121B7}"/>
              </a:ext>
            </a:extLst>
          </p:cNvPr>
          <p:cNvSpPr txBox="1"/>
          <p:nvPr/>
        </p:nvSpPr>
        <p:spPr>
          <a:xfrm>
            <a:off x="4223792" y="1412776"/>
            <a:ext cx="734481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2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it-IT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 il PNRR, si hanno a disposizione risorse finanziarie e un’occasione irripetibile. </a:t>
            </a:r>
            <a:r>
              <a:rPr lang="it-IT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le sfida non può essere assunta solo con gli investimenti, che non sempre alimentano i migliori propositi, ma necessita di un’idea di scuola in cui le persone si devono riconoscere per diventare effettivamente protagoniste di nuova progettualità</a:t>
            </a:r>
            <a:r>
              <a:rPr lang="it-IT" sz="2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… </a:t>
            </a:r>
            <a:r>
              <a:rPr lang="it-IT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’idea di scuola che ci permetta di rivedere le cose in modo diverso, uscendo da schemi obsoleti per intraprendere strade innovative. </a:t>
            </a:r>
          </a:p>
          <a:p>
            <a:pPr algn="just"/>
            <a:endParaRPr lang="it-IT" sz="20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2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</a:t>
            </a:r>
            <a:r>
              <a:rPr lang="it-IT" sz="2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</a:t>
            </a:r>
            <a:r>
              <a:rPr lang="it-IT" sz="2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 ragioni dell’insuccesso non vanno cercate nell’impossibilità del compito ma piuttosto nella soluzione adottata per risolverlo”.</a:t>
            </a:r>
          </a:p>
          <a:p>
            <a:pPr algn="just"/>
            <a:endParaRPr lang="it-IT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lla Premessa di </a:t>
            </a:r>
            <a:r>
              <a:rPr lang="it-IT" sz="20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ncesco Profumo</a:t>
            </a:r>
          </a:p>
        </p:txBody>
      </p:sp>
    </p:spTree>
    <p:extLst>
      <p:ext uri="{BB962C8B-B14F-4D97-AF65-F5344CB8AC3E}">
        <p14:creationId xmlns:p14="http://schemas.microsoft.com/office/powerpoint/2010/main" val="41858573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0B3CC59C-CD8F-9CD5-3974-CBE6B6DEE2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6152" y="1086610"/>
            <a:ext cx="9560368" cy="4756917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642568B8-3525-AEC6-D828-3F3D4BB5E5D5}"/>
              </a:ext>
            </a:extLst>
          </p:cNvPr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altLang="it-IT" sz="2800" b="1" dirty="0">
                <a:solidFill>
                  <a:srgbClr val="009A44"/>
                </a:solidFill>
              </a:rPr>
              <a:t>Piano scuola 4.0 – </a:t>
            </a:r>
            <a:r>
              <a:rPr lang="it-IT" altLang="it-IT" sz="2800" b="1" dirty="0" err="1">
                <a:solidFill>
                  <a:srgbClr val="009A44"/>
                </a:solidFill>
              </a:rPr>
              <a:t>MIM</a:t>
            </a:r>
            <a:r>
              <a:rPr lang="it-IT" altLang="it-IT" sz="2800" b="1" dirty="0">
                <a:solidFill>
                  <a:srgbClr val="009A44"/>
                </a:solidFill>
              </a:rPr>
              <a:t> 2022</a:t>
            </a:r>
            <a:r>
              <a:rPr lang="en-US" altLang="it-IT" sz="2800" b="1" dirty="0">
                <a:solidFill>
                  <a:srgbClr val="009A44"/>
                </a:solidFill>
              </a:rPr>
              <a:t>  </a:t>
            </a:r>
          </a:p>
        </p:txBody>
      </p:sp>
      <p:pic>
        <p:nvPicPr>
          <p:cNvPr id="4" name="Picture 31">
            <a:extLst>
              <a:ext uri="{FF2B5EF4-FFF2-40B4-BE49-F238E27FC236}">
                <a16:creationId xmlns:a16="http://schemas.microsoft.com/office/drawing/2014/main" id="{86276BF6-366F-07F9-B954-29BB1506100A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391167">
            <a:off x="9979064" y="1217397"/>
            <a:ext cx="1265710" cy="1560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74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1ECA6C9-B2C1-49D1-8C2C-D7299F83FFDC}"/>
              </a:ext>
            </a:extLst>
          </p:cNvPr>
          <p:cNvGrpSpPr/>
          <p:nvPr/>
        </p:nvGrpSpPr>
        <p:grpSpPr>
          <a:xfrm>
            <a:off x="587376" y="832066"/>
            <a:ext cx="4888822" cy="2195494"/>
            <a:chOff x="2177085" y="0"/>
            <a:chExt cx="2111718" cy="4896544"/>
          </a:xfrm>
          <a:solidFill>
            <a:srgbClr val="BCEBB5"/>
          </a:solidFill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91E38085-6804-43C6-84EC-B7B492F31AAF}"/>
                </a:ext>
              </a:extLst>
            </p:cNvPr>
            <p:cNvSpPr/>
            <p:nvPr/>
          </p:nvSpPr>
          <p:spPr>
            <a:xfrm>
              <a:off x="2177085" y="0"/>
              <a:ext cx="2111718" cy="48965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ctangle: Rounded Corners 4">
              <a:extLst>
                <a:ext uri="{FF2B5EF4-FFF2-40B4-BE49-F238E27FC236}">
                  <a16:creationId xmlns:a16="http://schemas.microsoft.com/office/drawing/2014/main" id="{785FE35A-EE39-4CB5-9409-1ADDECD9FFEF}"/>
                </a:ext>
              </a:extLst>
            </p:cNvPr>
            <p:cNvSpPr txBox="1"/>
            <p:nvPr/>
          </p:nvSpPr>
          <p:spPr>
            <a:xfrm>
              <a:off x="2177085" y="1958617"/>
              <a:ext cx="2111718" cy="195861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62280" tIns="462280" rIns="462280" bIns="462280" numCol="1" spcCol="1270" anchor="ctr" anchorCtr="0">
              <a:noAutofit/>
            </a:bodyPr>
            <a:lstStyle/>
            <a:p>
              <a:pPr algn="ctr" defTabSz="288733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7200" dirty="0">
                <a:solidFill>
                  <a:prstClr val="white"/>
                </a:solidFill>
                <a:latin typeface="+mj-lt"/>
              </a:endParaRPr>
            </a:p>
          </p:txBody>
        </p:sp>
      </p:grpSp>
      <p:sp>
        <p:nvSpPr>
          <p:cNvPr id="8" name="Oval 7">
            <a:extLst>
              <a:ext uri="{FF2B5EF4-FFF2-40B4-BE49-F238E27FC236}">
                <a16:creationId xmlns:a16="http://schemas.microsoft.com/office/drawing/2014/main" id="{7FF1FB37-C3D5-49E0-9EF4-93B4D23B8695}"/>
              </a:ext>
            </a:extLst>
          </p:cNvPr>
          <p:cNvSpPr>
            <a:spLocks noChangeAspect="1"/>
          </p:cNvSpPr>
          <p:nvPr/>
        </p:nvSpPr>
        <p:spPr>
          <a:xfrm>
            <a:off x="697541" y="860744"/>
            <a:ext cx="703309" cy="703309"/>
          </a:xfrm>
          <a:prstGeom prst="ellipse">
            <a:avLst/>
          </a:prstGeom>
          <a:solidFill>
            <a:srgbClr val="F6FAF7"/>
          </a:solidFill>
          <a:ln>
            <a:solidFill>
              <a:srgbClr val="BCEBB5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49746E6-A5E7-4415-AF2C-A0CC1AB07D58}"/>
              </a:ext>
            </a:extLst>
          </p:cNvPr>
          <p:cNvGrpSpPr/>
          <p:nvPr/>
        </p:nvGrpSpPr>
        <p:grpSpPr>
          <a:xfrm>
            <a:off x="5790343" y="789275"/>
            <a:ext cx="4959852" cy="2314114"/>
            <a:chOff x="2177085" y="0"/>
            <a:chExt cx="2111718" cy="4896544"/>
          </a:xfrm>
          <a:solidFill>
            <a:srgbClr val="FFC7C6"/>
          </a:solidFill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8793E80E-0918-44F2-975C-D43041B8E69D}"/>
                </a:ext>
              </a:extLst>
            </p:cNvPr>
            <p:cNvSpPr/>
            <p:nvPr/>
          </p:nvSpPr>
          <p:spPr>
            <a:xfrm>
              <a:off x="2177085" y="0"/>
              <a:ext cx="2111718" cy="48965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Rectangle: Rounded Corners 4">
              <a:extLst>
                <a:ext uri="{FF2B5EF4-FFF2-40B4-BE49-F238E27FC236}">
                  <a16:creationId xmlns:a16="http://schemas.microsoft.com/office/drawing/2014/main" id="{B6E47391-D463-499C-9AF2-F50018C3CE40}"/>
                </a:ext>
              </a:extLst>
            </p:cNvPr>
            <p:cNvSpPr txBox="1"/>
            <p:nvPr/>
          </p:nvSpPr>
          <p:spPr>
            <a:xfrm>
              <a:off x="2177085" y="1958617"/>
              <a:ext cx="2111718" cy="195861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62280" tIns="462280" rIns="462280" bIns="462280" numCol="1" spcCol="1270" anchor="ctr" anchorCtr="0">
              <a:noAutofit/>
            </a:bodyPr>
            <a:lstStyle/>
            <a:p>
              <a:pPr algn="ctr" defTabSz="288733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7200" dirty="0">
                <a:solidFill>
                  <a:prstClr val="white"/>
                </a:solidFill>
                <a:latin typeface="+mj-lt"/>
              </a:endParaRPr>
            </a:p>
          </p:txBody>
        </p: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id="{0ED1BFC7-4B07-42AD-BD89-D7C80A630DB5}"/>
              </a:ext>
            </a:extLst>
          </p:cNvPr>
          <p:cNvSpPr>
            <a:spLocks noChangeAspect="1"/>
          </p:cNvSpPr>
          <p:nvPr/>
        </p:nvSpPr>
        <p:spPr>
          <a:xfrm>
            <a:off x="5868534" y="781003"/>
            <a:ext cx="703309" cy="703309"/>
          </a:xfrm>
          <a:prstGeom prst="ellipse">
            <a:avLst/>
          </a:prstGeom>
          <a:solidFill>
            <a:srgbClr val="F6FAF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08923C1-ECC3-465F-BB95-63467335CDB5}"/>
              </a:ext>
            </a:extLst>
          </p:cNvPr>
          <p:cNvSpPr/>
          <p:nvPr/>
        </p:nvSpPr>
        <p:spPr>
          <a:xfrm>
            <a:off x="543521" y="3200343"/>
            <a:ext cx="5098802" cy="3485269"/>
          </a:xfrm>
          <a:prstGeom prst="roundRect">
            <a:avLst>
              <a:gd name="adj" fmla="val 10000"/>
            </a:avLst>
          </a:prstGeom>
          <a:solidFill>
            <a:srgbClr val="FFE6A8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DF5FFBB-20CA-43C8-A78C-4A1E8C68B6F5}"/>
              </a:ext>
            </a:extLst>
          </p:cNvPr>
          <p:cNvSpPr>
            <a:spLocks noChangeAspect="1"/>
          </p:cNvSpPr>
          <p:nvPr/>
        </p:nvSpPr>
        <p:spPr>
          <a:xfrm>
            <a:off x="744060" y="3211286"/>
            <a:ext cx="703309" cy="703309"/>
          </a:xfrm>
          <a:prstGeom prst="ellipse">
            <a:avLst/>
          </a:prstGeom>
          <a:solidFill>
            <a:srgbClr val="F6FAF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37A5610-CEA8-4FD1-96A9-DFCE9A2F9DD6}"/>
              </a:ext>
            </a:extLst>
          </p:cNvPr>
          <p:cNvGrpSpPr/>
          <p:nvPr/>
        </p:nvGrpSpPr>
        <p:grpSpPr>
          <a:xfrm>
            <a:off x="5831443" y="3253506"/>
            <a:ext cx="5098801" cy="3432106"/>
            <a:chOff x="2177085" y="0"/>
            <a:chExt cx="2111718" cy="4896544"/>
          </a:xfrm>
          <a:solidFill>
            <a:srgbClr val="DED3FF"/>
          </a:solidFill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194A9E75-04FE-46D8-8E24-92C457D55FE4}"/>
                </a:ext>
              </a:extLst>
            </p:cNvPr>
            <p:cNvSpPr/>
            <p:nvPr/>
          </p:nvSpPr>
          <p:spPr>
            <a:xfrm>
              <a:off x="2177085" y="0"/>
              <a:ext cx="2111718" cy="48965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ctangle: Rounded Corners 4">
              <a:extLst>
                <a:ext uri="{FF2B5EF4-FFF2-40B4-BE49-F238E27FC236}">
                  <a16:creationId xmlns:a16="http://schemas.microsoft.com/office/drawing/2014/main" id="{4250BEDA-C03B-4AE6-A436-1B05A729ED68}"/>
                </a:ext>
              </a:extLst>
            </p:cNvPr>
            <p:cNvSpPr txBox="1"/>
            <p:nvPr/>
          </p:nvSpPr>
          <p:spPr>
            <a:xfrm>
              <a:off x="2177085" y="1958617"/>
              <a:ext cx="2111718" cy="195861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62280" tIns="462280" rIns="462280" bIns="462280" numCol="1" spcCol="1270" anchor="ctr" anchorCtr="0">
              <a:noAutofit/>
            </a:bodyPr>
            <a:lstStyle/>
            <a:p>
              <a:pPr algn="ctr" defTabSz="288733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7200" dirty="0">
                <a:solidFill>
                  <a:prstClr val="white"/>
                </a:solidFill>
                <a:latin typeface="+mj-lt"/>
              </a:endParaRP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1A0EDFDD-D0C3-486F-AF46-5F2FE580A24C}"/>
              </a:ext>
            </a:extLst>
          </p:cNvPr>
          <p:cNvSpPr>
            <a:spLocks noChangeAspect="1"/>
          </p:cNvSpPr>
          <p:nvPr/>
        </p:nvSpPr>
        <p:spPr>
          <a:xfrm>
            <a:off x="5977483" y="3267478"/>
            <a:ext cx="703309" cy="703309"/>
          </a:xfrm>
          <a:prstGeom prst="ellipse">
            <a:avLst/>
          </a:prstGeom>
          <a:solidFill>
            <a:srgbClr val="F6FAF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A84B1B-05F0-402B-A8A0-CC1462A3DE24}"/>
              </a:ext>
            </a:extLst>
          </p:cNvPr>
          <p:cNvSpPr/>
          <p:nvPr/>
        </p:nvSpPr>
        <p:spPr>
          <a:xfrm>
            <a:off x="6142215" y="1212398"/>
            <a:ext cx="4723255" cy="1869422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spetti generali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FF0000"/>
                </a:solidFill>
                <a:latin typeface="+mj-lt"/>
              </a:rPr>
              <a:t>Priorità desunte dal RAV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FF0000"/>
                </a:solidFill>
                <a:latin typeface="+mj-lt"/>
              </a:rPr>
              <a:t>Obiettivi formativi prioritari (art. 1, comma 7 L. 107/15)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FF0000"/>
                </a:solidFill>
                <a:latin typeface="+mj-lt"/>
              </a:rPr>
              <a:t>Piano di miglioramento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Principali elementi di</a:t>
            </a:r>
            <a:r>
              <a:rPr lang="x-none" sz="1867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lang="it-IT" sz="1867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innovazione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u="sng" dirty="0">
                <a:solidFill>
                  <a:srgbClr val="FF0000"/>
                </a:solidFill>
                <a:latin typeface="+mj-lt"/>
              </a:rPr>
              <a:t>Iniziative previste in relazione a… PNRR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9FD5291-732D-4F0F-AD29-3C481A4484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060" y="895262"/>
            <a:ext cx="614885" cy="61488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83A8981-C914-469D-B522-7FE5F03EBF8E}"/>
              </a:ext>
            </a:extLst>
          </p:cNvPr>
          <p:cNvSpPr/>
          <p:nvPr/>
        </p:nvSpPr>
        <p:spPr>
          <a:xfrm>
            <a:off x="543521" y="1571579"/>
            <a:ext cx="4879233" cy="1523173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43682A"/>
                </a:solidFill>
                <a:latin typeface="+mj-lt"/>
              </a:rPr>
              <a:t>Analisi del contesto e dei bisogni del territorio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43682A"/>
                </a:solidFill>
                <a:latin typeface="+mj-lt"/>
              </a:rPr>
              <a:t>Caratteristiche principali della scuola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43682A"/>
                </a:solidFill>
                <a:latin typeface="+mj-lt"/>
              </a:rPr>
              <a:t>Ricognizione attrezzature e infrastrutture materiali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43682A"/>
                </a:solidFill>
                <a:latin typeface="+mj-lt"/>
              </a:rPr>
              <a:t>Risorse professional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A7ECD54-5C76-4096-9172-DB0532E41457}"/>
              </a:ext>
            </a:extLst>
          </p:cNvPr>
          <p:cNvSpPr/>
          <p:nvPr/>
        </p:nvSpPr>
        <p:spPr>
          <a:xfrm>
            <a:off x="633546" y="3619132"/>
            <a:ext cx="5098802" cy="3123867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spetti generali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raguardi attesi in uscita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segnamenti e quadri orario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urricolo di Istituto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ercorsi per le competenze traversali e per l’orientamento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iziative di ampliamento dell’offerta formativa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ttività previste per favorire la Transizione ecologica e culturale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ttività previste in relazione al PNSD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Valutazione degli apprendimenti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zioni della Scuola per l'inclusione scolastica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iano per la didattica digitale integrat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7BF29F-FC3C-4CE3-8570-1A68D22511EB}"/>
              </a:ext>
            </a:extLst>
          </p:cNvPr>
          <p:cNvSpPr/>
          <p:nvPr/>
        </p:nvSpPr>
        <p:spPr>
          <a:xfrm>
            <a:off x="1441805" y="952263"/>
            <a:ext cx="3789149" cy="410369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defTabSz="1218096"/>
            <a:r>
              <a:rPr lang="it-IT" sz="1867" b="1" cap="all" dirty="0">
                <a:solidFill>
                  <a:srgbClr val="555555"/>
                </a:solidFill>
                <a:latin typeface="+mj-lt"/>
              </a:rPr>
              <a:t>LA SCUOLA E IL SUO CONTESTO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ACF3074-0F0E-4EA4-83D8-BB024D06071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1535" y="779875"/>
            <a:ext cx="615600" cy="6156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AC4A5E4-78FC-4EB0-847A-FEB311E322A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345" y="3194798"/>
            <a:ext cx="615600" cy="6156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88C0DBA-00B6-4EE1-A0FB-2CCFEAD6189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467" y="3389637"/>
            <a:ext cx="540000" cy="5400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720CCC8-9BA9-43B4-BE75-B61B6B166BF7}"/>
              </a:ext>
            </a:extLst>
          </p:cNvPr>
          <p:cNvSpPr/>
          <p:nvPr/>
        </p:nvSpPr>
        <p:spPr>
          <a:xfrm>
            <a:off x="6594844" y="863523"/>
            <a:ext cx="3273167" cy="410369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defTabSz="1218096"/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L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E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 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S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C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E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L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T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E 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S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T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R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A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T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E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G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I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C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H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E</a:t>
            </a:r>
            <a:endParaRPr lang="it-IT" sz="1867" b="1" cap="all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67D60FD-695C-467E-826E-3590795F41C4}"/>
              </a:ext>
            </a:extLst>
          </p:cNvPr>
          <p:cNvSpPr/>
          <p:nvPr/>
        </p:nvSpPr>
        <p:spPr>
          <a:xfrm>
            <a:off x="1576189" y="3312754"/>
            <a:ext cx="3273167" cy="410369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defTabSz="1218096"/>
            <a:r>
              <a:rPr lang="it-IT" sz="1867" b="1" cap="all" dirty="0">
                <a:solidFill>
                  <a:srgbClr val="87898B">
                    <a:lumMod val="75000"/>
                  </a:srgbClr>
                </a:solidFill>
                <a:latin typeface="+mj-lt"/>
              </a:rPr>
              <a:t>L'OFFERTA FORMATIVA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C048553-D860-4950-BE54-310986C9DBC6}"/>
              </a:ext>
            </a:extLst>
          </p:cNvPr>
          <p:cNvSpPr/>
          <p:nvPr/>
        </p:nvSpPr>
        <p:spPr>
          <a:xfrm>
            <a:off x="7033814" y="3348250"/>
            <a:ext cx="3273167" cy="410369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defTabSz="1218096"/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L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’O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R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G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A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N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I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Z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Z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A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Z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I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O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N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E</a:t>
            </a:r>
            <a:endParaRPr lang="it-IT" sz="1867" b="1" cap="all" dirty="0">
              <a:solidFill>
                <a:srgbClr val="7030A0"/>
              </a:solidFill>
              <a:latin typeface="+mj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A872829-CA75-49F7-90D3-C0991BBC2E15}"/>
              </a:ext>
            </a:extLst>
          </p:cNvPr>
          <p:cNvSpPr/>
          <p:nvPr/>
        </p:nvSpPr>
        <p:spPr>
          <a:xfrm>
            <a:off x="5977483" y="4296094"/>
            <a:ext cx="4772712" cy="1869422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Aspetti generali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Modello organizzativo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Organizzazione Uffici e modalità di rapporto con l'utenza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Reti e Convenzioni attivate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Piano di formazione del personale docente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Piano di formazione del personale AT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DE9689-0DBA-44DA-BBC3-2FEC6FC72051}"/>
              </a:ext>
            </a:extLst>
          </p:cNvPr>
          <p:cNvSpPr txBox="1">
            <a:spLocks/>
          </p:cNvSpPr>
          <p:nvPr/>
        </p:nvSpPr>
        <p:spPr bwMode="black">
          <a:xfrm>
            <a:off x="543522" y="252637"/>
            <a:ext cx="11097418" cy="380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1218096" eaLnBrk="1" hangingPunct="1"/>
            <a:r>
              <a:rPr lang="it-IT" altLang="it-IT" sz="2400" b="1" dirty="0">
                <a:solidFill>
                  <a:srgbClr val="009A44"/>
                </a:solidFill>
              </a:rPr>
              <a:t>Dalla dissipazione all’organizzazione: progetti che permangono nel tempo</a:t>
            </a:r>
            <a:r>
              <a:rPr lang="" altLang="it-IT" sz="2400" b="1" dirty="0">
                <a:solidFill>
                  <a:srgbClr val="009A44"/>
                </a:solidFill>
              </a:rPr>
              <a:t> </a:t>
            </a:r>
            <a:endParaRPr lang="it-IT" altLang="it-IT" sz="2400" b="1" dirty="0">
              <a:solidFill>
                <a:srgbClr val="009A44"/>
              </a:solidFill>
            </a:endParaRPr>
          </a:p>
        </p:txBody>
      </p:sp>
      <p:pic>
        <p:nvPicPr>
          <p:cNvPr id="29" name="Picture 31">
            <a:extLst>
              <a:ext uri="{FF2B5EF4-FFF2-40B4-BE49-F238E27FC236}">
                <a16:creationId xmlns:a16="http://schemas.microsoft.com/office/drawing/2014/main" id="{6904463C-3185-420B-A8A9-321CF00E54EA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292196">
            <a:off x="10110546" y="1075724"/>
            <a:ext cx="1662397" cy="205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4193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black">
          <a:xfrm>
            <a:off x="1524000" y="19665"/>
            <a:ext cx="7542331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511717" eaLnBrk="1" fontAlgn="base" hangingPunct="1">
              <a:spcBef>
                <a:spcPct val="0"/>
              </a:spcBef>
              <a:spcAft>
                <a:spcPct val="0"/>
              </a:spcAft>
            </a:pPr>
            <a:endParaRPr lang="it-IT" altLang="it-IT" sz="2500" b="1" dirty="0">
              <a:solidFill>
                <a:srgbClr val="0A7736"/>
              </a:solidFill>
              <a:latin typeface="Georgia" panose="02040502050405020303" pitchFamily="18" charset="0"/>
              <a:ea typeface="HP Simplified"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4338777E-062F-43C5-B68E-1F9096BE50BB}"/>
              </a:ext>
            </a:extLst>
          </p:cNvPr>
          <p:cNvSpPr/>
          <p:nvPr/>
        </p:nvSpPr>
        <p:spPr>
          <a:xfrm>
            <a:off x="2090556" y="2460789"/>
            <a:ext cx="6291445" cy="372408"/>
          </a:xfrm>
          <a:prstGeom prst="rect">
            <a:avLst/>
          </a:prstGeom>
        </p:spPr>
        <p:txBody>
          <a:bodyPr wrap="square" lIns="64005" tIns="32003" rIns="64005" bIns="32003">
            <a:spAutoFit/>
          </a:bodyPr>
          <a:lstStyle/>
          <a:p>
            <a:pPr defTabSz="1023440"/>
            <a:endParaRPr lang="it-IT" sz="2000" dirty="0">
              <a:solidFill>
                <a:prstClr val="black"/>
              </a:solidFill>
              <a:latin typeface="Georgia" panose="02040502050405020303" pitchFamily="18" charset="0"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 bwMode="black">
          <a:xfrm>
            <a:off x="571520" y="207336"/>
            <a:ext cx="10618096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it-IT" sz="2400" b="1" dirty="0">
                <a:solidFill>
                  <a:srgbClr val="0A7736"/>
                </a:solidFill>
              </a:rPr>
              <a:t>Nuova sottosezione </a:t>
            </a:r>
            <a:br>
              <a:rPr lang="it-IT" sz="2400" b="1" dirty="0">
                <a:solidFill>
                  <a:srgbClr val="0A7736"/>
                </a:solidFill>
              </a:rPr>
            </a:br>
            <a:r>
              <a:rPr lang="it-IT" sz="2400" b="1" dirty="0">
                <a:solidFill>
                  <a:srgbClr val="0A7736"/>
                </a:solidFill>
              </a:rPr>
              <a:t>«Iniziative previste in relazione alla Missione 1.4-Istruzione del PNRR»</a:t>
            </a:r>
          </a:p>
        </p:txBody>
      </p: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1B7F83BA-CAE6-45FE-BCA8-33CC317E877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7">
            <a:extLst>
              <a:ext uri="{FF2B5EF4-FFF2-40B4-BE49-F238E27FC236}">
                <a16:creationId xmlns:a16="http://schemas.microsoft.com/office/drawing/2014/main" id="{3DF041B9-4B51-4F49-9406-03C71E856370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">
            <a:extLst>
              <a:ext uri="{FF2B5EF4-FFF2-40B4-BE49-F238E27FC236}">
                <a16:creationId xmlns:a16="http://schemas.microsoft.com/office/drawing/2014/main" id="{3C9E07BA-A94F-4E21-9C12-92B0BF4E0CAA}"/>
              </a:ext>
            </a:extLst>
          </p:cNvPr>
          <p:cNvSpPr txBox="1"/>
          <p:nvPr/>
        </p:nvSpPr>
        <p:spPr>
          <a:xfrm>
            <a:off x="485793" y="1108471"/>
            <a:ext cx="11024491" cy="1423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500"/>
              </a:spcBef>
              <a:spcAft>
                <a:spcPts val="500"/>
              </a:spcAft>
            </a:pP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lla nuova sottosezione la scuola ha la possibilità di descrivere e dare evidenza delle attività curriculari ed extracurriculari in attuazione delle azioni del PNRR. </a:t>
            </a:r>
          </a:p>
          <a:p>
            <a:pPr algn="just">
              <a:spcBef>
                <a:spcPts val="500"/>
              </a:spcBef>
              <a:spcAft>
                <a:spcPts val="500"/>
              </a:spcAft>
            </a:pP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È previsto un collegamento tra le piattaforme per la gestione degli interventi previsti dal PNRR e le piattaforme del  PTOF e del Curriculum dello studente</a:t>
            </a:r>
            <a:endParaRPr lang="it-IT" sz="1600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US" sz="1600" dirty="0"/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78BC37E7-8420-4C93-B467-0C9FAC02FEA7}"/>
              </a:ext>
            </a:extLst>
          </p:cNvPr>
          <p:cNvGrpSpPr/>
          <p:nvPr/>
        </p:nvGrpSpPr>
        <p:grpSpPr>
          <a:xfrm>
            <a:off x="552450" y="2590005"/>
            <a:ext cx="10985056" cy="2900079"/>
            <a:chOff x="662940" y="3108005"/>
            <a:chExt cx="13167360" cy="3480095"/>
          </a:xfrm>
        </p:grpSpPr>
        <p:pic>
          <p:nvPicPr>
            <p:cNvPr id="14" name="Immagine 13">
              <a:extLst>
                <a:ext uri="{FF2B5EF4-FFF2-40B4-BE49-F238E27FC236}">
                  <a16:creationId xmlns:a16="http://schemas.microsoft.com/office/drawing/2014/main" id="{B88073AC-9E29-476D-B54A-6BC3E64335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5800" y="3108005"/>
              <a:ext cx="13144500" cy="3347262"/>
            </a:xfrm>
            <a:prstGeom prst="rect">
              <a:avLst/>
            </a:prstGeom>
          </p:spPr>
        </p:pic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B9FF43D3-122C-4F5E-9BF8-39328E594841}"/>
                </a:ext>
              </a:extLst>
            </p:cNvPr>
            <p:cNvSpPr txBox="1"/>
            <p:nvPr/>
          </p:nvSpPr>
          <p:spPr>
            <a:xfrm>
              <a:off x="3986174" y="4986764"/>
              <a:ext cx="9670530" cy="24922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333"/>
                </a:spcAft>
              </a:pPr>
              <a:r>
                <a:rPr lang="it-IT" sz="833" b="1" dirty="0"/>
                <a:t>NOTA: Un’iniziativa è completata se per ogni titolo indicato è indicato la tipologia e la linea d’investimento, un titolo, una descrizione.</a:t>
              </a:r>
            </a:p>
          </p:txBody>
        </p:sp>
        <p:pic>
          <p:nvPicPr>
            <p:cNvPr id="16" name="Immagine 15">
              <a:extLst>
                <a:ext uri="{FF2B5EF4-FFF2-40B4-BE49-F238E27FC236}">
                  <a16:creationId xmlns:a16="http://schemas.microsoft.com/office/drawing/2014/main" id="{A681875C-DA7A-4608-AAB4-B3602DDC6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5800" y="4114799"/>
              <a:ext cx="3040380" cy="1627245"/>
            </a:xfrm>
            <a:prstGeom prst="rect">
              <a:avLst/>
            </a:prstGeom>
          </p:spPr>
        </p:pic>
        <p:pic>
          <p:nvPicPr>
            <p:cNvPr id="17" name="Immagine 16">
              <a:extLst>
                <a:ext uri="{FF2B5EF4-FFF2-40B4-BE49-F238E27FC236}">
                  <a16:creationId xmlns:a16="http://schemas.microsoft.com/office/drawing/2014/main" id="{0957D809-7AFF-41EA-9838-CB2933185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62940" y="5672829"/>
              <a:ext cx="3086100" cy="915271"/>
            </a:xfrm>
            <a:prstGeom prst="rect">
              <a:avLst/>
            </a:prstGeom>
          </p:spPr>
        </p:pic>
        <p:sp>
          <p:nvSpPr>
            <p:cNvPr id="18" name="Rettangolo 17">
              <a:extLst>
                <a:ext uri="{FF2B5EF4-FFF2-40B4-BE49-F238E27FC236}">
                  <a16:creationId xmlns:a16="http://schemas.microsoft.com/office/drawing/2014/main" id="{19329CD8-7FD5-4FD1-82C7-D43FFEA6F387}"/>
                </a:ext>
              </a:extLst>
            </p:cNvPr>
            <p:cNvSpPr/>
            <p:nvPr/>
          </p:nvSpPr>
          <p:spPr>
            <a:xfrm>
              <a:off x="685799" y="5434052"/>
              <a:ext cx="3040379" cy="238777"/>
            </a:xfrm>
            <a:prstGeom prst="rect">
              <a:avLst/>
            </a:prstGeom>
            <a:solidFill>
              <a:srgbClr val="F7F3F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00" tIns="0" rIns="45000" bIns="0" rtlCol="0" anchor="ctr"/>
            <a:lstStyle/>
            <a:p>
              <a:endParaRPr lang="it-IT" sz="667" dirty="0">
                <a:solidFill>
                  <a:schemeClr val="tx1"/>
                </a:solidFill>
                <a:latin typeface="Bahnschrift SemiBold" panose="020B0502040204020203" pitchFamily="34" charset="0"/>
              </a:endParaRPr>
            </a:p>
            <a:p>
              <a:r>
                <a:rPr lang="it-IT" sz="667" dirty="0">
                  <a:solidFill>
                    <a:schemeClr val="tx1"/>
                  </a:solidFill>
                  <a:latin typeface="Bahnschrift SemiBold" panose="020B0502040204020203" pitchFamily="34" charset="0"/>
                </a:rPr>
                <a:t>   Principali elementi di innovazione</a:t>
              </a:r>
            </a:p>
            <a:p>
              <a:endParaRPr lang="it-IT" sz="667" dirty="0">
                <a:solidFill>
                  <a:schemeClr val="tx1"/>
                </a:solidFill>
                <a:latin typeface="Bahnschrift SemiBold" panose="020B0502040204020203" pitchFamily="34" charset="0"/>
              </a:endParaRPr>
            </a:p>
          </p:txBody>
        </p:sp>
        <p:sp>
          <p:nvSpPr>
            <p:cNvPr id="19" name="Rettangolo 18">
              <a:extLst>
                <a:ext uri="{FF2B5EF4-FFF2-40B4-BE49-F238E27FC236}">
                  <a16:creationId xmlns:a16="http://schemas.microsoft.com/office/drawing/2014/main" id="{FE899744-8134-4213-83B1-819600751EB6}"/>
                </a:ext>
              </a:extLst>
            </p:cNvPr>
            <p:cNvSpPr/>
            <p:nvPr/>
          </p:nvSpPr>
          <p:spPr>
            <a:xfrm>
              <a:off x="777239" y="5752318"/>
              <a:ext cx="2870087" cy="14915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00" tIns="0" rIns="45000" bIns="0" rtlCol="0" anchor="ctr"/>
            <a:lstStyle/>
            <a:p>
              <a:r>
                <a:rPr lang="it-IT" sz="583" dirty="0">
                  <a:solidFill>
                    <a:schemeClr val="tx1"/>
                  </a:solidFill>
                  <a:latin typeface="Bahnschrift SemiBold" panose="020B0502040204020203" pitchFamily="34" charset="0"/>
                </a:rPr>
                <a:t>Iniziative previste in relazione alla «Missione 1.4-Istruzione» del PNRR</a:t>
              </a:r>
            </a:p>
          </p:txBody>
        </p:sp>
        <p:sp>
          <p:nvSpPr>
            <p:cNvPr id="20" name="Rettangolo 19">
              <a:extLst>
                <a:ext uri="{FF2B5EF4-FFF2-40B4-BE49-F238E27FC236}">
                  <a16:creationId xmlns:a16="http://schemas.microsoft.com/office/drawing/2014/main" id="{CF9D615A-92DD-4869-AA8F-D8874B0903EF}"/>
                </a:ext>
              </a:extLst>
            </p:cNvPr>
            <p:cNvSpPr/>
            <p:nvPr/>
          </p:nvSpPr>
          <p:spPr>
            <a:xfrm>
              <a:off x="4462882" y="3503070"/>
              <a:ext cx="3328568" cy="192071"/>
            </a:xfrm>
            <a:prstGeom prst="rect">
              <a:avLst/>
            </a:prstGeom>
            <a:solidFill>
              <a:srgbClr val="EDEAE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00" tIns="0" rIns="45000" bIns="0" rtlCol="0" anchor="ctr"/>
            <a:lstStyle/>
            <a:p>
              <a:r>
                <a:rPr lang="it-IT" sz="667" b="1" dirty="0">
                  <a:solidFill>
                    <a:schemeClr val="bg1">
                      <a:lumMod val="50000"/>
                    </a:schemeClr>
                  </a:solidFill>
                  <a:latin typeface="Bahnschrift SemiBold" panose="020B0502040204020203" pitchFamily="34" charset="0"/>
                </a:rPr>
                <a:t>Iniziative previste in relazione alla «Missione 1.4-Istruzione» del PNRR</a:t>
              </a:r>
            </a:p>
          </p:txBody>
        </p:sp>
        <p:sp>
          <p:nvSpPr>
            <p:cNvPr id="21" name="Rettangolo 20">
              <a:extLst>
                <a:ext uri="{FF2B5EF4-FFF2-40B4-BE49-F238E27FC236}">
                  <a16:creationId xmlns:a16="http://schemas.microsoft.com/office/drawing/2014/main" id="{92480A7F-E6E1-47D6-8CAD-C33B68849D68}"/>
                </a:ext>
              </a:extLst>
            </p:cNvPr>
            <p:cNvSpPr/>
            <p:nvPr/>
          </p:nvSpPr>
          <p:spPr>
            <a:xfrm>
              <a:off x="3906351" y="3758538"/>
              <a:ext cx="9847747" cy="522502"/>
            </a:xfrm>
            <a:prstGeom prst="rect">
              <a:avLst/>
            </a:prstGeom>
            <a:solidFill>
              <a:srgbClr val="FFCBC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00" tIns="0" rIns="45000" bIns="0" rtlCol="0" anchor="ctr"/>
            <a:lstStyle/>
            <a:p>
              <a:r>
                <a:rPr lang="it-IT" sz="1000" b="1" dirty="0">
                  <a:solidFill>
                    <a:schemeClr val="tx1"/>
                  </a:solidFill>
                  <a:latin typeface="Bahnschrift SemiBold" panose="020B0502040204020203" pitchFamily="34" charset="0"/>
                </a:rPr>
                <a:t>  Iniziative previste in relazione alla «Missione 1.4-Istruzione» del PNRR</a:t>
              </a:r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547166C0-8FAE-4ADD-A7F9-0FA5D0DD759E}"/>
                </a:ext>
              </a:extLst>
            </p:cNvPr>
            <p:cNvSpPr/>
            <p:nvPr/>
          </p:nvSpPr>
          <p:spPr>
            <a:xfrm>
              <a:off x="3986174" y="4324969"/>
              <a:ext cx="2631796" cy="2750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875" b="1" dirty="0">
                  <a:solidFill>
                    <a:srgbClr val="227AD4"/>
                  </a:solidFill>
                </a:rPr>
                <a:t>Elenco iniziative</a:t>
              </a:r>
            </a:p>
          </p:txBody>
        </p:sp>
        <p:sp>
          <p:nvSpPr>
            <p:cNvPr id="23" name="CasellaDiTesto 22">
              <a:extLst>
                <a:ext uri="{FF2B5EF4-FFF2-40B4-BE49-F238E27FC236}">
                  <a16:creationId xmlns:a16="http://schemas.microsoft.com/office/drawing/2014/main" id="{0E836DBE-49E9-49F2-88DE-85729D1BC54B}"/>
                </a:ext>
              </a:extLst>
            </p:cNvPr>
            <p:cNvSpPr txBox="1"/>
            <p:nvPr/>
          </p:nvSpPr>
          <p:spPr>
            <a:xfrm>
              <a:off x="11383107" y="4281040"/>
              <a:ext cx="2259529" cy="24922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333"/>
                </a:spcAft>
              </a:pPr>
              <a:endParaRPr lang="it-IT" sz="833" b="1" dirty="0"/>
            </a:p>
          </p:txBody>
        </p:sp>
      </p:grpSp>
      <p:sp>
        <p:nvSpPr>
          <p:cNvPr id="24" name="Oval 5">
            <a:extLst>
              <a:ext uri="{FF2B5EF4-FFF2-40B4-BE49-F238E27FC236}">
                <a16:creationId xmlns:a16="http://schemas.microsoft.com/office/drawing/2014/main" id="{1AB77EAE-84BF-4C98-97B0-B1C4DC992CEB}"/>
              </a:ext>
            </a:extLst>
          </p:cNvPr>
          <p:cNvSpPr/>
          <p:nvPr/>
        </p:nvSpPr>
        <p:spPr>
          <a:xfrm>
            <a:off x="460607" y="4661196"/>
            <a:ext cx="2771900" cy="46827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21856" tIns="60928" rIns="121856" bIns="60928" rtlCol="0" anchor="ctr"/>
          <a:lstStyle/>
          <a:p>
            <a:pPr algn="ctr"/>
            <a:endParaRPr lang="it-IT" sz="3467"/>
          </a:p>
        </p:txBody>
      </p:sp>
    </p:spTree>
    <p:extLst>
      <p:ext uri="{BB962C8B-B14F-4D97-AF65-F5344CB8AC3E}">
        <p14:creationId xmlns:p14="http://schemas.microsoft.com/office/powerpoint/2010/main" val="41901370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3">
            <a:extLst>
              <a:ext uri="{FF2B5EF4-FFF2-40B4-BE49-F238E27FC236}">
                <a16:creationId xmlns:a16="http://schemas.microsoft.com/office/drawing/2014/main" id="{642568B8-3525-AEC6-D828-3F3D4BB5E5D5}"/>
              </a:ext>
            </a:extLst>
          </p:cNvPr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altLang="it-IT" sz="3600" b="1" dirty="0">
                <a:solidFill>
                  <a:srgbClr val="009A44"/>
                </a:solidFill>
              </a:rPr>
              <a:t>Le competenze dei docenti</a:t>
            </a:r>
            <a:r>
              <a:rPr lang="en-US" altLang="it-IT" sz="3600" b="1" dirty="0">
                <a:solidFill>
                  <a:srgbClr val="009A44"/>
                </a:solidFill>
              </a:rPr>
              <a:t>  </a:t>
            </a:r>
          </a:p>
        </p:txBody>
      </p:sp>
      <p:sp>
        <p:nvSpPr>
          <p:cNvPr id="4" name="Segnaposto testo 2">
            <a:extLst>
              <a:ext uri="{FF2B5EF4-FFF2-40B4-BE49-F238E27FC236}">
                <a16:creationId xmlns:a16="http://schemas.microsoft.com/office/drawing/2014/main" id="{CD5FD139-9BF7-FF76-25B8-BABD6DD7795B}"/>
              </a:ext>
            </a:extLst>
          </p:cNvPr>
          <p:cNvSpPr txBox="1">
            <a:spLocks/>
          </p:cNvSpPr>
          <p:nvPr/>
        </p:nvSpPr>
        <p:spPr>
          <a:xfrm>
            <a:off x="911424" y="1986832"/>
            <a:ext cx="6537961" cy="2819464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866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770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648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539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404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270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160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039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36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La </a:t>
            </a:r>
            <a:r>
              <a:rPr lang="it-IT" sz="3600" i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nzione (?)</a:t>
            </a:r>
            <a:r>
              <a:rPr lang="it-IT" sz="3600" b="1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36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ente … </a:t>
            </a:r>
          </a:p>
          <a:p>
            <a:pPr algn="just"/>
            <a:r>
              <a:rPr lang="it-IT" sz="3600" i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 la trasmissione (?)</a:t>
            </a:r>
            <a:r>
              <a:rPr lang="it-IT" sz="36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algn="just"/>
            <a:r>
              <a:rPr lang="it-IT" sz="36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lla cultura»</a:t>
            </a:r>
          </a:p>
          <a:p>
            <a:pPr algn="just"/>
            <a:endParaRPr lang="it-IT" sz="3600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(DPR</a:t>
            </a:r>
            <a:r>
              <a:rPr lang="it-IT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1 maggio 1974,  417, art. 4)</a:t>
            </a:r>
          </a:p>
          <a:p>
            <a:pPr algn="just"/>
            <a:endParaRPr lang="it-IT" sz="3600" dirty="0">
              <a:solidFill>
                <a:srgbClr val="FF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it-IT" sz="3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en-GB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GB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Users\damiano\Desktop\Cattura.PNG">
            <a:extLst>
              <a:ext uri="{FF2B5EF4-FFF2-40B4-BE49-F238E27FC236}">
                <a16:creationId xmlns:a16="http://schemas.microsoft.com/office/drawing/2014/main" id="{78200DE5-56E8-0C90-C870-B8A2DC65CD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9385" y="1268762"/>
            <a:ext cx="3576241" cy="439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53471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olo 1">
            <a:extLst>
              <a:ext uri="{FF2B5EF4-FFF2-40B4-BE49-F238E27FC236}">
                <a16:creationId xmlns:a16="http://schemas.microsoft.com/office/drawing/2014/main" id="{2D6ECAE7-770E-8C9E-3C56-4873EF1CCE39}"/>
              </a:ext>
            </a:extLst>
          </p:cNvPr>
          <p:cNvSpPr txBox="1">
            <a:spLocks/>
          </p:cNvSpPr>
          <p:nvPr/>
        </p:nvSpPr>
        <p:spPr>
          <a:xfrm>
            <a:off x="459386" y="-73112"/>
            <a:ext cx="11017249" cy="1656184"/>
          </a:xfrm>
          <a:prstGeom prst="rect">
            <a:avLst/>
          </a:prstGeom>
        </p:spPr>
        <p:txBody>
          <a:bodyPr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it-IT" sz="2400" b="1" dirty="0">
              <a:solidFill>
                <a:srgbClr val="002060"/>
              </a:solidFill>
              <a:ea typeface="+mn-ea"/>
              <a:cs typeface="+mn-cs"/>
            </a:endParaRPr>
          </a:p>
          <a:p>
            <a:r>
              <a:rPr lang="it-IT" sz="2400" b="1" dirty="0">
                <a:solidFill>
                  <a:srgbClr val="0A7736"/>
                </a:solidFill>
                <a:latin typeface="Arial" pitchFamily="34" charset="0"/>
                <a:cs typeface="Arial" pitchFamily="34" charset="0"/>
              </a:rPr>
              <a:t>Lo sviluppo professionale dei docenti - Ministero dell’Istruzione 2018</a:t>
            </a:r>
          </a:p>
        </p:txBody>
      </p:sp>
      <p:graphicFrame>
        <p:nvGraphicFramePr>
          <p:cNvPr id="3" name="Tabella 3">
            <a:extLst>
              <a:ext uri="{FF2B5EF4-FFF2-40B4-BE49-F238E27FC236}">
                <a16:creationId xmlns:a16="http://schemas.microsoft.com/office/drawing/2014/main" id="{BC8DF0B1-3D25-5CFF-3871-67C8F3BB64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8773053"/>
              </p:ext>
            </p:extLst>
          </p:nvPr>
        </p:nvGraphicFramePr>
        <p:xfrm>
          <a:off x="587375" y="1148588"/>
          <a:ext cx="11017249" cy="432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93">
                  <a:extLst>
                    <a:ext uri="{9D8B030D-6E8A-4147-A177-3AD203B41FA5}">
                      <a16:colId xmlns:a16="http://schemas.microsoft.com/office/drawing/2014/main" val="2194362695"/>
                    </a:ext>
                  </a:extLst>
                </a:gridCol>
                <a:gridCol w="8888856">
                  <a:extLst>
                    <a:ext uri="{9D8B030D-6E8A-4147-A177-3AD203B41FA5}">
                      <a16:colId xmlns:a16="http://schemas.microsoft.com/office/drawing/2014/main" val="37018177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it-IT" sz="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303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1" dirty="0">
                          <a:solidFill>
                            <a:srgbClr val="002060"/>
                          </a:solidFill>
                          <a:cs typeface="Arial" charset="0"/>
                        </a:rPr>
                        <a:t>Disciplina</a:t>
                      </a:r>
                    </a:p>
                    <a:p>
                      <a:endParaRPr lang="it-IT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1 Conoscenze culturali e disciplinari dei saperi che sono “oggetto” di insegnamento </a:t>
                      </a:r>
                    </a:p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2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  <a:cs typeface="Arial" charset="0"/>
                        </a:rPr>
                        <a:t>Conoscenze epistemologiche-disciplinari e metodologico-disciplinar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3528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Didattic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3 Insegnamento pianificato e strutturato per l’apprendimento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4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</a:rPr>
                        <a:t>Strategie didattiche per sostenere l’apprendimento di tutti gli studenti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5 Metodi e strategie di valutazione per promuovere l’apprendimento 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6 Gestione delle relazioni e dei comportamenti in classe</a:t>
                      </a:r>
                      <a:endParaRPr lang="it-IT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0713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Organizzazi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7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</a:rPr>
                        <a:t>Partecipazione ai processi</a:t>
                      </a:r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 di autovalutazione e miglioramento 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8 Capacità di lavoro collaborativo tra docen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02139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Comunità educa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9 Padronanza del contesto professionale, con le sue regole e responsabilità 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10 Capacità di saper vivere il rapporto con il territorio e la comunit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9529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Cura profession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11 Alimentare la propria competenza attraverso una formazione permanente</a:t>
                      </a:r>
                      <a:endParaRPr lang="it-IT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862730"/>
                  </a:ext>
                </a:extLst>
              </a:tr>
            </a:tbl>
          </a:graphicData>
        </a:graphic>
      </p:graphicFrame>
      <p:pic>
        <p:nvPicPr>
          <p:cNvPr id="4" name="Picture 31">
            <a:extLst>
              <a:ext uri="{FF2B5EF4-FFF2-40B4-BE49-F238E27FC236}">
                <a16:creationId xmlns:a16="http://schemas.microsoft.com/office/drawing/2014/main" id="{40BA8E34-40A0-3797-486B-53CA20C0A8D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713208">
            <a:off x="1927256" y="3933053"/>
            <a:ext cx="1501597" cy="1851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9938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B2B33A23-4DC6-8343-6CFC-F9C655FA6339}"/>
              </a:ext>
            </a:extLst>
          </p:cNvPr>
          <p:cNvSpPr txBox="1"/>
          <p:nvPr/>
        </p:nvSpPr>
        <p:spPr>
          <a:xfrm>
            <a:off x="479376" y="980728"/>
            <a:ext cx="11554060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creto 24/06/2022 n. 170</a:t>
            </a:r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 risultati attesi delle azioni sono i seguenti: 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glioramento degli apprendimenti delle studentesse e degli studenti e dei livelli di competenze disciplinari e trasversali raggiunti;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minuzione dell’abbandono e delle assenze;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it-IT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glioramento delle competenze di comune progettazione e riflessione di docenti ed educatori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  <a:endParaRPr lang="it-IT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it-IT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solidamento di un modello di scuola inclusiva</a:t>
            </a:r>
            <a:r>
              <a:rPr lang="it-IT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mprontato a inter-professionalità, innovazione didattica, co-progettazione, co-programmazione</a:t>
            </a: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it-IT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te interazione tra scuola, comunità educante, enti locali e territorio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it-IT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8290" algn="just"/>
            <a:r>
              <a:rPr lang="it-IT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algn="just"/>
            <a:r>
              <a:rPr lang="it-IT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oltre, </a:t>
            </a: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 fine di garantire la massima efficacia degli interventi</a:t>
            </a: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</a:t>
            </a:r>
            <a:r>
              <a:rPr lang="it-IT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 sollecita l’opportunità di:</a:t>
            </a:r>
          </a:p>
          <a:p>
            <a:pPr marL="342900" lvl="0" indent="-342900" algn="just">
              <a:buSzPts val="1000"/>
              <a:buFont typeface="Times New Roman" panose="02020603050405020304" pitchFamily="18" charset="0"/>
              <a:buChar char="-"/>
            </a:pPr>
            <a:r>
              <a:rPr lang="it-IT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stituire reti di scuole</a:t>
            </a:r>
            <a:endParaRPr lang="it-IT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SzPts val="1000"/>
              <a:buFont typeface="Times New Roman" panose="02020603050405020304" pitchFamily="18" charset="0"/>
              <a:buChar char="-"/>
            </a:pP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evedere un 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ronoprogramma pluriennale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SzPts val="1000"/>
              <a:buFont typeface="Times New Roman" panose="02020603050405020304" pitchFamily="18" charset="0"/>
              <a:buChar char="-"/>
            </a:pP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sicurare l’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ientamento</a:t>
            </a: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ra la scuola secondaria di primo e secondo grado, secondo un approccio di tipo longitudinale e preventivo dell’insuccesso scolastico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SzPts val="1000"/>
              <a:buFont typeface="Times New Roman" panose="02020603050405020304" pitchFamily="18" charset="0"/>
              <a:buChar char="-"/>
            </a:pP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tenziare le competenze anche all’esterno della scuola</a:t>
            </a: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con una piena integrazione del percorso curricolare con le attività extracurricolari e con la valutazione degli apprendimenti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SzPts val="1000"/>
              <a:buFont typeface="Times New Roman" panose="02020603050405020304" pitchFamily="18" charset="0"/>
              <a:buChar char="-"/>
            </a:pP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muovere attività di co-progettazione 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 cooperazione fra la scuola e la comunità locale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8F5583AF-FEC7-E15A-58B4-A05A8E373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174625"/>
            <a:ext cx="10729191" cy="719138"/>
          </a:xfrm>
        </p:spPr>
        <p:txBody>
          <a:bodyPr>
            <a:normAutofit/>
          </a:bodyPr>
          <a:lstStyle/>
          <a:p>
            <a:pPr marL="0" marR="0" lvl="0" indent="0" defTabSz="60942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it-IT" sz="3200" dirty="0"/>
              <a:t>Risultati e processi attesi - D.M. 170/2022 </a:t>
            </a:r>
          </a:p>
        </p:txBody>
      </p:sp>
    </p:spTree>
    <p:extLst>
      <p:ext uri="{BB962C8B-B14F-4D97-AF65-F5344CB8AC3E}">
        <p14:creationId xmlns:p14="http://schemas.microsoft.com/office/powerpoint/2010/main" val="2279979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5DE3F56-E5B6-99D3-A104-77DB9FA25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74000"/>
            <a:ext cx="11017224" cy="720080"/>
          </a:xfrm>
        </p:spPr>
        <p:txBody>
          <a:bodyPr>
            <a:normAutofit/>
          </a:bodyPr>
          <a:lstStyle/>
          <a:p>
            <a:r>
              <a:rPr lang="it-IT" dirty="0"/>
              <a:t>D.M. 170/2022 – Istruzioni operative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63A4A967-DBE5-2CB7-C858-A0086907D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918138"/>
            <a:ext cx="5112568" cy="5175158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9D42ABA-27C9-BAF6-4183-94C74AEA3F40}"/>
              </a:ext>
            </a:extLst>
          </p:cNvPr>
          <p:cNvSpPr txBox="1"/>
          <p:nvPr/>
        </p:nvSpPr>
        <p:spPr>
          <a:xfrm>
            <a:off x="6240016" y="1052736"/>
            <a:ext cx="5400600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buSzPts val="1000"/>
            </a:pPr>
            <a:r>
              <a:rPr lang="it-IT" sz="20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uole in rete per il:</a:t>
            </a:r>
          </a:p>
          <a:p>
            <a:pPr lvl="0" algn="just"/>
            <a:r>
              <a:rPr lang="it-IT" sz="2000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</a:t>
            </a:r>
            <a:r>
              <a:rPr lang="it-IT" sz="20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solidamento di un modello di scuola inclusiva</a:t>
            </a:r>
            <a:r>
              <a:rPr lang="it-IT" sz="2000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mprontato a inter-professionalità, innovazione didattica, co-progettazione, co-programmazione</a:t>
            </a:r>
            <a:r>
              <a:rPr lang="it-IT" sz="2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  <a:r>
              <a:rPr lang="it-IT" sz="20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te interazione tra scuola, comunità educante, enti locali e territorio»</a:t>
            </a:r>
          </a:p>
          <a:p>
            <a:pPr lvl="0" algn="just"/>
            <a:endParaRPr lang="it-IT" sz="2000" b="1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buSzPts val="1000"/>
            </a:pPr>
            <a:r>
              <a:rPr lang="it-IT" sz="2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corsi per </a:t>
            </a:r>
            <a:r>
              <a:rPr lang="it-IT" sz="2000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tenziare le competenze anche all’esterno della scuola</a:t>
            </a:r>
            <a:r>
              <a:rPr lang="it-IT" sz="2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con una piena integrazione del percorso curricolare con le attività extracurricolari e con la valutazione degli apprendimenti</a:t>
            </a:r>
            <a:r>
              <a:rPr lang="it-IT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per </a:t>
            </a:r>
            <a:r>
              <a:rPr lang="it-IT" sz="2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muovere attività di co-progettazione </a:t>
            </a:r>
            <a:r>
              <a:rPr lang="it-IT" sz="2000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 cooperazione fra la scuola e la comunità locale</a:t>
            </a:r>
            <a:endParaRPr lang="it-I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endParaRPr lang="it-IT" sz="2000" b="1" i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3417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damiano\Desktop\turn_on_off_brain_anim_500_clr_16743.gif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94301" y="984616"/>
            <a:ext cx="5976664" cy="4347750"/>
          </a:xfrm>
          <a:prstGeom prst="rect">
            <a:avLst/>
          </a:prstGeom>
          <a:noFill/>
        </p:spPr>
      </p:pic>
      <p:sp>
        <p:nvSpPr>
          <p:cNvPr id="2" name="Titolo 3">
            <a:extLst>
              <a:ext uri="{FF2B5EF4-FFF2-40B4-BE49-F238E27FC236}">
                <a16:creationId xmlns:a16="http://schemas.microsoft.com/office/drawing/2014/main" id="{CA8ADC6D-793D-2507-4BE4-2EE39E360976}"/>
              </a:ext>
            </a:extLst>
          </p:cNvPr>
          <p:cNvSpPr txBox="1">
            <a:spLocks/>
          </p:cNvSpPr>
          <p:nvPr/>
        </p:nvSpPr>
        <p:spPr>
          <a:xfrm>
            <a:off x="135802" y="188640"/>
            <a:ext cx="11720838" cy="1325563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lang="en-GB" sz="2600" b="1" kern="1200" dirty="0">
                <a:solidFill>
                  <a:schemeClr val="bg1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1pPr>
            <a:lvl2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2pPr>
            <a:lvl3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3pPr>
            <a:lvl4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4pPr>
            <a:lvl5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5pPr>
            <a:lvl6pPr marL="609421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6pPr>
            <a:lvl7pPr marL="1218847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7pPr>
            <a:lvl8pPr marL="1828269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8pPr>
            <a:lvl9pPr marL="2437693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9pPr>
          </a:lstStyle>
          <a:p>
            <a:pPr algn="ctr"/>
            <a:r>
              <a:rPr lang="it-IT" sz="3200" dirty="0">
                <a:solidFill>
                  <a:srgbClr val="0070C0"/>
                </a:solidFill>
              </a:rPr>
              <a:t>Per (non) concludere</a:t>
            </a:r>
            <a:endParaRPr lang="it-IT" sz="3200" i="1" dirty="0">
              <a:solidFill>
                <a:srgbClr val="0070C0"/>
              </a:solidFill>
            </a:endParaRPr>
          </a:p>
        </p:txBody>
      </p:sp>
      <p:cxnSp>
        <p:nvCxnSpPr>
          <p:cNvPr id="3" name="Straight Connector 10">
            <a:extLst>
              <a:ext uri="{FF2B5EF4-FFF2-40B4-BE49-F238E27FC236}">
                <a16:creationId xmlns:a16="http://schemas.microsoft.com/office/drawing/2014/main" id="{C1880514-748F-A19A-2F0A-99E215991364}"/>
              </a:ext>
            </a:extLst>
          </p:cNvPr>
          <p:cNvCxnSpPr>
            <a:cxnSpLocks/>
          </p:cNvCxnSpPr>
          <p:nvPr/>
        </p:nvCxnSpPr>
        <p:spPr>
          <a:xfrm>
            <a:off x="2206656" y="980728"/>
            <a:ext cx="7551955" cy="12698"/>
          </a:xfrm>
          <a:prstGeom prst="line">
            <a:avLst/>
          </a:prstGeom>
          <a:ln w="28575">
            <a:solidFill>
              <a:srgbClr val="005E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99548094-C8D6-395F-7C79-F12512BD9845}"/>
              </a:ext>
            </a:extLst>
          </p:cNvPr>
          <p:cNvSpPr txBox="1"/>
          <p:nvPr/>
        </p:nvSpPr>
        <p:spPr>
          <a:xfrm>
            <a:off x="515380" y="4725144"/>
            <a:ext cx="1116124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800" i="1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Nel libro che ho scritto con Alessandro Amadori, ‘È l’Italia che vogliamo’, ricordo che il più grande uomo di Stato romano, Ottaviano Augusto, aveva una particolare considerazione anzitutto </a:t>
            </a:r>
            <a:r>
              <a:rPr lang="it-IT" i="1" dirty="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</a:t>
            </a:r>
            <a:r>
              <a:rPr lang="it-IT" sz="1800" i="1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ue figure professionali: </a:t>
            </a:r>
            <a:r>
              <a:rPr lang="it-IT" sz="24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medico e l’insegnante». </a:t>
            </a:r>
          </a:p>
          <a:p>
            <a:endParaRPr lang="it-IT" sz="1800" b="1" i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it-IT" sz="1800" i="1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iuseppe </a:t>
            </a:r>
            <a:r>
              <a:rPr lang="it-IT" i="1" dirty="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</a:t>
            </a:r>
            <a:r>
              <a:rPr lang="it-IT" sz="1800" i="1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ditara </a:t>
            </a:r>
            <a:r>
              <a:rPr lang="it-IT" sz="1200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intervista TUTTOSCUOLA 4 gennaio 2023)</a:t>
            </a:r>
            <a:endParaRPr lang="it-I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69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1668E0-B827-F8C8-0551-9DAF855A3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01CBE9C-3208-7013-DC1D-68BF3A4F39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FE00E81-55E3-B200-E683-6074BE6AD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Immagine 4" descr="Medicina Romana">
            <a:extLst>
              <a:ext uri="{FF2B5EF4-FFF2-40B4-BE49-F238E27FC236}">
                <a16:creationId xmlns:a16="http://schemas.microsoft.com/office/drawing/2014/main" id="{A13A220A-74AB-FB3E-E056-9A281BD109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55"/>
            <a:ext cx="7608168" cy="692580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4CE06E65-5D42-E1CB-C470-AD5201FFF418}"/>
              </a:ext>
            </a:extLst>
          </p:cNvPr>
          <p:cNvSpPr txBox="1"/>
          <p:nvPr/>
        </p:nvSpPr>
        <p:spPr>
          <a:xfrm>
            <a:off x="8112224" y="2996952"/>
            <a:ext cx="36004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400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tore di ricerca: </a:t>
            </a:r>
            <a:r>
              <a:rPr lang="it-IT" sz="24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ico antica Roma</a:t>
            </a:r>
            <a:endParaRPr lang="it-IT" sz="24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49583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1668E0-B827-F8C8-0551-9DAF855A3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01CBE9C-3208-7013-DC1D-68BF3A4F39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FE00E81-55E3-B200-E683-6074BE6AD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Immagine 4" descr="la scuola romana">
            <a:extLst>
              <a:ext uri="{FF2B5EF4-FFF2-40B4-BE49-F238E27FC236}">
                <a16:creationId xmlns:a16="http://schemas.microsoft.com/office/drawing/2014/main" id="{445BF4EB-0C00-B70D-B36D-AB6E2ED712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24" y="0"/>
            <a:ext cx="12173876" cy="594928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7B36E119-4D08-47C2-711B-916B11E99504}"/>
              </a:ext>
            </a:extLst>
          </p:cNvPr>
          <p:cNvSpPr txBox="1"/>
          <p:nvPr/>
        </p:nvSpPr>
        <p:spPr>
          <a:xfrm>
            <a:off x="335360" y="6165304"/>
            <a:ext cx="112332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400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tore di ricerca: </a:t>
            </a:r>
            <a:r>
              <a:rPr lang="it-IT" sz="2400" b="1" i="1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gnante</a:t>
            </a:r>
            <a:r>
              <a:rPr lang="it-IT" sz="24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tica Roma</a:t>
            </a:r>
            <a:endParaRPr lang="it-IT" sz="24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8983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4758E44-AB93-4000-8068-2B2DD5FD9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72844"/>
            <a:ext cx="11089232" cy="720080"/>
          </a:xfrm>
        </p:spPr>
        <p:txBody>
          <a:bodyPr>
            <a:normAutofit fontScale="90000"/>
          </a:bodyPr>
          <a:lstStyle/>
          <a:p>
            <a:pPr marL="0" marR="0" lvl="0" indent="0" defTabSz="60942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it-IT" sz="3600" dirty="0"/>
              <a:t>Risultati attesi</a:t>
            </a:r>
            <a:br>
              <a:rPr lang="it-IT" sz="2000" dirty="0"/>
            </a:br>
            <a:r>
              <a:rPr lang="it-IT" sz="2000" dirty="0"/>
              <a:t>(PNRR Decreto 170/2022) 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513BBBA0-6B84-4C79-892E-B8CC21F28334}"/>
              </a:ext>
            </a:extLst>
          </p:cNvPr>
          <p:cNvSpPr txBox="1">
            <a:spLocks/>
          </p:cNvSpPr>
          <p:nvPr/>
        </p:nvSpPr>
        <p:spPr>
          <a:xfrm>
            <a:off x="706438" y="1196752"/>
            <a:ext cx="10995147" cy="4691063"/>
          </a:xfrm>
          <a:prstGeom prst="rect">
            <a:avLst/>
          </a:prstGeom>
        </p:spPr>
        <p:txBody>
          <a:bodyPr/>
          <a:lstStyle>
            <a:lvl1pPr algn="l" defTabSz="609421" rtl="0" eaLnBrk="0" fontAlgn="base" hangingPunct="0">
              <a:spcBef>
                <a:spcPct val="0"/>
              </a:spcBef>
              <a:spcAft>
                <a:spcPts val="533"/>
              </a:spcAft>
              <a:buSzPct val="100000"/>
              <a:buFont typeface="Arial" pitchFamily="34" charset="0"/>
              <a:defRPr b="1" kern="1200">
                <a:solidFill>
                  <a:srgbClr val="0096D6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1pPr>
            <a:lvl2pPr algn="l" defTabSz="573452" rtl="0" eaLnBrk="0" fontAlgn="base" hangingPunct="0">
              <a:spcBef>
                <a:spcPct val="0"/>
              </a:spcBef>
              <a:spcAft>
                <a:spcPts val="533"/>
              </a:spcAft>
              <a:buSzPct val="100000"/>
              <a:buFont typeface="Lucida Grande"/>
              <a:defRPr sz="2200" kern="1200">
                <a:solidFill>
                  <a:srgbClr val="000000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2pPr>
            <a:lvl3pPr marL="226420" indent="-226420" algn="l" defTabSz="609421" rtl="0" eaLnBrk="0" fontAlgn="base" hangingPunct="0">
              <a:spcBef>
                <a:spcPct val="0"/>
              </a:spcBef>
              <a:spcAft>
                <a:spcPts val="533"/>
              </a:spcAft>
              <a:buFont typeface="HP Simplified"/>
              <a:buChar char="•"/>
              <a:defRPr sz="1700" kern="1200">
                <a:solidFill>
                  <a:srgbClr val="000000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3pPr>
            <a:lvl4pPr marL="454953" indent="-241230" algn="l" defTabSz="609421" rtl="0" eaLnBrk="0" fontAlgn="base" hangingPunct="0">
              <a:spcBef>
                <a:spcPct val="0"/>
              </a:spcBef>
              <a:spcAft>
                <a:spcPts val="533"/>
              </a:spcAft>
              <a:buSzPct val="80000"/>
              <a:buFont typeface="HP Simplified"/>
              <a:buChar char="–"/>
              <a:defRPr lang="en-US" sz="1700" kern="1200" dirty="0">
                <a:solidFill>
                  <a:srgbClr val="000000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4pPr>
            <a:lvl5pPr marL="626352" indent="-201027" algn="l" defTabSz="609421" rtl="0" eaLnBrk="0" fontAlgn="base" hangingPunct="0">
              <a:spcBef>
                <a:spcPct val="0"/>
              </a:spcBef>
              <a:spcAft>
                <a:spcPts val="533"/>
              </a:spcAft>
              <a:buFont typeface="HP Simplified"/>
              <a:buChar char="•"/>
              <a:defRPr sz="1700" kern="1200">
                <a:solidFill>
                  <a:srgbClr val="000000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5pPr>
            <a:lvl6pPr marL="3047116" indent="0" algn="l" defTabSz="609421" rtl="0" eaLnBrk="1" latinLnBrk="0" hangingPunct="1">
              <a:lnSpc>
                <a:spcPts val="3333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251" indent="-304712" algn="l" defTabSz="609421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675" indent="-304712" algn="l" defTabSz="609421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099" indent="-304712" algn="l" defTabSz="609421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sz="16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15C71432-8AA0-E3E3-93DB-98CBA7140F81}"/>
              </a:ext>
            </a:extLst>
          </p:cNvPr>
          <p:cNvSpPr txBox="1"/>
          <p:nvPr/>
        </p:nvSpPr>
        <p:spPr>
          <a:xfrm>
            <a:off x="516576" y="1299470"/>
            <a:ext cx="10995147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 il miglioramento delle competenze </a:t>
            </a:r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ticolare attenzione riverte attualmente la </a:t>
            </a:r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nea di investimento 1.4. nell’ambito della Missione 4 – Componente 1:</a:t>
            </a:r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18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Intervento straordinario finalizzato alla riduzione dei divari territoriali …”. </a:t>
            </a:r>
          </a:p>
          <a:p>
            <a:pPr algn="just"/>
            <a:endParaRPr lang="it-IT" b="1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creto 24/06/2022 n. 170</a:t>
            </a:r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2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I principali obiettivi degli interventi attuati dalle istituzioni scolastiche sono </a:t>
            </a:r>
            <a:r>
              <a:rPr lang="it-IT" sz="24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</a:t>
            </a:r>
            <a:r>
              <a:rPr lang="it-IT" sz="28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tenziamento delle competenze di base </a:t>
            </a:r>
            <a:r>
              <a:rPr lang="it-IT" sz="2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partire dal primo ciclo, con particolare attenzione alle alunne e agli alunni, alle studentesse e agli studenti, che presentino fragilità negli apprendimenti, secondo un approccio di tipo preventivo dell’insuccesso scolastico, </a:t>
            </a:r>
            <a:r>
              <a:rPr lang="it-IT" sz="28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contrasto alla dispersione scolastica</a:t>
            </a:r>
            <a:r>
              <a:rPr lang="it-IT" sz="28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lang="it-IT" sz="2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ramite un </a:t>
            </a:r>
            <a:r>
              <a:rPr lang="it-IT" sz="2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ccio globale e integrato </a:t>
            </a:r>
            <a:r>
              <a:rPr lang="it-IT" sz="2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e valorizzi la motivazione e i talenti di ogni discente all’interno e all’esterno della scuola</a:t>
            </a:r>
            <a:r>
              <a:rPr lang="it-IT" sz="24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…</a:t>
            </a:r>
            <a:r>
              <a:rPr lang="it-IT" sz="2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. </a:t>
            </a:r>
            <a:endParaRPr lang="it-IT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15239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2191A5C4-4D39-478B-AE9A-1DDE8D0A745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99"/>
          <a:stretch/>
        </p:blipFill>
        <p:spPr>
          <a:xfrm>
            <a:off x="551384" y="836712"/>
            <a:ext cx="4823560" cy="4762500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E04C72DC-52F2-4025-9847-A2D4095C77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4943" y="836711"/>
            <a:ext cx="6667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817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l_fi" descr="http://www.iclevico.eu/img/storia_scuola_primaria_levico_clip_image004.jpg">
            <a:extLst>
              <a:ext uri="{FF2B5EF4-FFF2-40B4-BE49-F238E27FC236}">
                <a16:creationId xmlns:a16="http://schemas.microsoft.com/office/drawing/2014/main" id="{8989E963-EC25-406E-9DAD-FBE87B608FB4}"/>
              </a:ext>
            </a:extLst>
          </p:cNvPr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12638" y="476672"/>
            <a:ext cx="7966724" cy="5026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81178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E2B4DD44-2376-41CD-8D30-D2AB1BEAC0B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40" t="1599" r="19139" b="3618"/>
          <a:stretch/>
        </p:blipFill>
        <p:spPr>
          <a:xfrm>
            <a:off x="263352" y="692696"/>
            <a:ext cx="4981073" cy="4993106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5B93DF1D-DF27-46EF-85C8-57D96224F6E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08" t="27369" r="2587"/>
          <a:stretch/>
        </p:blipFill>
        <p:spPr>
          <a:xfrm>
            <a:off x="5244425" y="704728"/>
            <a:ext cx="6593305" cy="4981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2416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damiano\Desktop\foto-scuola1.jpg">
            <a:extLst>
              <a:ext uri="{FF2B5EF4-FFF2-40B4-BE49-F238E27FC236}">
                <a16:creationId xmlns:a16="http://schemas.microsoft.com/office/drawing/2014/main" id="{7EC60644-563B-4CF9-939D-6865E0BBAC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2812" y="273989"/>
            <a:ext cx="7939651" cy="52772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691390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Segnaposto contenuto 2">
            <a:extLst>
              <a:ext uri="{FF2B5EF4-FFF2-40B4-BE49-F238E27FC236}">
                <a16:creationId xmlns:a16="http://schemas.microsoft.com/office/drawing/2014/main" id="{BAAA0404-3C10-438B-AA5B-AAF1846FAE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150687"/>
              </p:ext>
            </p:extLst>
          </p:nvPr>
        </p:nvGraphicFramePr>
        <p:xfrm>
          <a:off x="6816080" y="1124744"/>
          <a:ext cx="5375919" cy="4727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olo 1">
            <a:extLst>
              <a:ext uri="{FF2B5EF4-FFF2-40B4-BE49-F238E27FC236}">
                <a16:creationId xmlns:a16="http://schemas.microsoft.com/office/drawing/2014/main" id="{393AB122-F150-47DB-A452-8ADC3E2D0D6B}"/>
              </a:ext>
            </a:extLst>
          </p:cNvPr>
          <p:cNvSpPr txBox="1">
            <a:spLocks/>
          </p:cNvSpPr>
          <p:nvPr/>
        </p:nvSpPr>
        <p:spPr>
          <a:xfrm>
            <a:off x="706132" y="1700808"/>
            <a:ext cx="5616624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it-IT" sz="3600" dirty="0">
                <a:solidFill>
                  <a:srgbClr val="0070C0"/>
                </a:solidFill>
              </a:rPr>
              <a:t>In educazione contano le persone,</a:t>
            </a:r>
          </a:p>
          <a:p>
            <a:pPr algn="ctr">
              <a:lnSpc>
                <a:spcPct val="150000"/>
              </a:lnSpc>
            </a:pPr>
            <a:r>
              <a:rPr lang="it-IT" sz="3600" dirty="0">
                <a:solidFill>
                  <a:srgbClr val="0070C0"/>
                </a:solidFill>
              </a:rPr>
              <a:t>l’apprendimento è sempre un processo relazionale</a:t>
            </a:r>
          </a:p>
          <a:p>
            <a:pPr algn="ctr">
              <a:lnSpc>
                <a:spcPct val="150000"/>
              </a:lnSpc>
            </a:pPr>
            <a:endParaRPr lang="it-IT" sz="3600" i="1" dirty="0">
              <a:solidFill>
                <a:srgbClr val="0070C0"/>
              </a:solidFill>
            </a:endParaRPr>
          </a:p>
          <a:p>
            <a:pPr algn="ctr">
              <a:lnSpc>
                <a:spcPct val="150000"/>
              </a:lnSpc>
            </a:pPr>
            <a:br>
              <a:rPr lang="it-IT" sz="3600" dirty="0">
                <a:solidFill>
                  <a:srgbClr val="0070C0"/>
                </a:solidFill>
              </a:rPr>
            </a:br>
            <a:endParaRPr lang="it-IT" sz="3600" dirty="0">
              <a:solidFill>
                <a:srgbClr val="0070C0"/>
              </a:solidFill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E36B8D5-0A5F-A2B9-1E34-9617413A6D56}"/>
              </a:ext>
            </a:extLst>
          </p:cNvPr>
          <p:cNvSpPr txBox="1"/>
          <p:nvPr/>
        </p:nvSpPr>
        <p:spPr>
          <a:xfrm>
            <a:off x="7176120" y="5888119"/>
            <a:ext cx="46805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it-IT" sz="16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2023, centenario della nascita di Don Milani  </a:t>
            </a:r>
          </a:p>
        </p:txBody>
      </p:sp>
    </p:spTree>
    <p:extLst>
      <p:ext uri="{BB962C8B-B14F-4D97-AF65-F5344CB8AC3E}">
        <p14:creationId xmlns:p14="http://schemas.microsoft.com/office/powerpoint/2010/main" val="14318157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399F61EC-7F49-4F3C-A1D5-043E422C1026}"/>
              </a:ext>
            </a:extLst>
          </p:cNvPr>
          <p:cNvSpPr txBox="1"/>
          <p:nvPr/>
        </p:nvSpPr>
        <p:spPr>
          <a:xfrm>
            <a:off x="1661158" y="2593011"/>
            <a:ext cx="4800533" cy="1354152"/>
          </a:xfrm>
          <a:prstGeom prst="rect">
            <a:avLst/>
          </a:prstGeom>
          <a:noFill/>
        </p:spPr>
        <p:txBody>
          <a:bodyPr wrap="square" lIns="121856" tIns="60928" rIns="121856" bIns="60928" rtlCol="0">
            <a:spAutoFit/>
          </a:bodyPr>
          <a:lstStyle/>
          <a:p>
            <a:pPr algn="ctr" defTabSz="573266">
              <a:spcAft>
                <a:spcPts val="533"/>
              </a:spcAft>
              <a:buSzPct val="100000"/>
            </a:pPr>
            <a:r>
              <a:rPr lang="it-IT" sz="80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zie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F214D8CC-0EEA-4011-AA3C-928AE5FAC5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67922">
            <a:off x="6413669" y="1116739"/>
            <a:ext cx="5582860" cy="4624523"/>
          </a:xfrm>
          <a:prstGeom prst="rect">
            <a:avLst/>
          </a:prstGeom>
        </p:spPr>
      </p:pic>
      <p:sp>
        <p:nvSpPr>
          <p:cNvPr id="4" name="AutoShape 1">
            <a:extLst>
              <a:ext uri="{FF2B5EF4-FFF2-40B4-BE49-F238E27FC236}">
                <a16:creationId xmlns:a16="http://schemas.microsoft.com/office/drawing/2014/main" id="{D4FF4943-B50E-4417-9C3F-17125DE11B9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67809" y="1220543"/>
            <a:ext cx="60959" cy="6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it-IT" sz="2400" dirty="0"/>
          </a:p>
        </p:txBody>
      </p:sp>
      <p:cxnSp>
        <p:nvCxnSpPr>
          <p:cNvPr id="9" name="Straight Connector 7">
            <a:extLst>
              <a:ext uri="{FF2B5EF4-FFF2-40B4-BE49-F238E27FC236}">
                <a16:creationId xmlns:a16="http://schemas.microsoft.com/office/drawing/2014/main" id="{443EECAD-663C-4099-B2A2-8B61AF1C4A3C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F65580-AAD4-461D-B4DB-A329C35B77D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8315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292B900-7578-D3D5-E39F-B4BFFD284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2" y="174000"/>
            <a:ext cx="10945216" cy="720080"/>
          </a:xfrm>
        </p:spPr>
        <p:txBody>
          <a:bodyPr>
            <a:normAutofit fontScale="90000"/>
          </a:bodyPr>
          <a:lstStyle/>
          <a:p>
            <a:r>
              <a:rPr lang="it-IT" sz="3600" dirty="0"/>
              <a:t>Target</a:t>
            </a:r>
            <a:br>
              <a:rPr lang="it-IT" dirty="0"/>
            </a:br>
            <a:r>
              <a:rPr lang="it-IT" sz="2000" dirty="0"/>
              <a:t>(PNRR – Istruzione operative)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6070FFC5-6BB7-7F43-377E-1CC833BA2641}"/>
              </a:ext>
            </a:extLst>
          </p:cNvPr>
          <p:cNvSpPr txBox="1"/>
          <p:nvPr/>
        </p:nvSpPr>
        <p:spPr>
          <a:xfrm>
            <a:off x="587376" y="1179546"/>
            <a:ext cx="10981232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22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rget </a:t>
            </a:r>
            <a:r>
              <a:rPr lang="it-IT" sz="2200" b="1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Istruzioni operative» </a:t>
            </a:r>
            <a:r>
              <a:rPr lang="it-IT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/12/2022</a:t>
            </a:r>
          </a:p>
          <a:p>
            <a:pPr algn="just"/>
            <a:endParaRPr lang="it-IT" sz="2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2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valore numerico </a:t>
            </a:r>
            <a:r>
              <a:rPr lang="it-IT" sz="22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isulta già precompilato dal sistema </a:t>
            </a:r>
            <a:r>
              <a:rPr lang="it-IT" sz="2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 il target definito in proporzione al numero di alunni frequentanti, alla percentuale di fragilità e al finanziamento ricevuto. </a:t>
            </a:r>
          </a:p>
          <a:p>
            <a:pPr algn="just"/>
            <a:r>
              <a:rPr lang="it-IT" sz="22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mero di studenti che hanno frequentato le attività</a:t>
            </a:r>
          </a:p>
          <a:p>
            <a:pPr algn="just"/>
            <a:endParaRPr lang="it-IT" sz="22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it-IT" sz="22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</a:t>
            </a: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PNRR – Missione 4 – Componente 1 </a:t>
            </a:r>
          </a:p>
          <a:p>
            <a:pPr algn="just"/>
            <a:endParaRPr lang="it-IT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Traguardi: </a:t>
            </a:r>
            <a:r>
              <a:rPr lang="it-IT" b="1" dirty="0" err="1">
                <a:latin typeface="Arial" panose="020B0604020202020204" pitchFamily="34" charset="0"/>
                <a:cs typeface="Arial" panose="020B0604020202020204" pitchFamily="34" charset="0"/>
              </a:rPr>
              <a:t>T4</a:t>
            </a: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-2024: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Realizzazione di attività di tutoraggio per almeno </a:t>
            </a:r>
            <a:r>
              <a:rPr lang="it-IT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0.000 giovani 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a rischio di abbandono scolastico e per almeno 350.000 giovani che hanno già abbandonato la scuola. </a:t>
            </a:r>
          </a:p>
          <a:p>
            <a:pPr algn="just"/>
            <a:endParaRPr lang="it-IT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b="1" dirty="0" err="1">
                <a:latin typeface="Arial" panose="020B0604020202020204" pitchFamily="34" charset="0"/>
                <a:cs typeface="Arial" panose="020B0604020202020204" pitchFamily="34" charset="0"/>
              </a:rPr>
              <a:t>T2</a:t>
            </a: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-2026: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Riduzione del divario nel tasso di abbandono scolastico nell'istruzione secondaria fino a raggiungere la media UE del 2019 </a:t>
            </a:r>
            <a:r>
              <a:rPr lang="it-IT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0,2%).</a:t>
            </a:r>
          </a:p>
          <a:p>
            <a:pPr algn="just"/>
            <a:endParaRPr lang="it-IT" sz="18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3431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184E2C5D-67D5-4B15-88E0-EF2A8DA9030E}"/>
              </a:ext>
            </a:extLst>
          </p:cNvPr>
          <p:cNvSpPr txBox="1">
            <a:spLocks/>
          </p:cNvSpPr>
          <p:nvPr/>
        </p:nvSpPr>
        <p:spPr bwMode="black">
          <a:xfrm>
            <a:off x="2061402" y="383588"/>
            <a:ext cx="8069196" cy="408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endParaRPr lang="it-IT" altLang="it-IT" sz="3200" b="1" dirty="0">
              <a:solidFill>
                <a:srgbClr val="009A44"/>
              </a:solidFill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28FF6D83-D41A-6C4E-2C9C-52B07D3D0845}"/>
              </a:ext>
            </a:extLst>
          </p:cNvPr>
          <p:cNvSpPr txBox="1"/>
          <p:nvPr/>
        </p:nvSpPr>
        <p:spPr>
          <a:xfrm>
            <a:off x="4151784" y="2005377"/>
            <a:ext cx="7272808" cy="30572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 defTabSz="430213"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it-IT" sz="32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Cosa sappiamo?</a:t>
            </a:r>
          </a:p>
          <a:p>
            <a:pPr marL="514350" indent="-514350" defTabSz="430213">
              <a:spcAft>
                <a:spcPts val="400"/>
              </a:spcAft>
              <a:buSzPct val="100000"/>
              <a:buFont typeface="+mj-lt"/>
              <a:buAutoNum type="arabicPeriod"/>
            </a:pPr>
            <a:endParaRPr lang="it-IT" sz="32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514350" indent="-514350" defTabSz="430213"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it-IT" sz="32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Cosa sappiamo di non sapere? </a:t>
            </a:r>
          </a:p>
          <a:p>
            <a:pPr marL="514350" indent="-514350" defTabSz="430213">
              <a:spcAft>
                <a:spcPts val="400"/>
              </a:spcAft>
              <a:buSzPct val="100000"/>
              <a:buFont typeface="+mj-lt"/>
              <a:buAutoNum type="arabicPeriod"/>
            </a:pPr>
            <a:endParaRPr lang="it-IT" sz="32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514350" indent="-514350" defTabSz="430213"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it-IT" sz="32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Cosa possiamo fare?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it-IT" sz="1600" dirty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D59E66-9932-C7B6-9224-E24CFC9E3F99}"/>
              </a:ext>
            </a:extLst>
          </p:cNvPr>
          <p:cNvSpPr txBox="1">
            <a:spLocks/>
          </p:cNvSpPr>
          <p:nvPr/>
        </p:nvSpPr>
        <p:spPr bwMode="black">
          <a:xfrm>
            <a:off x="551384" y="343959"/>
            <a:ext cx="10873208" cy="408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US" altLang="it-IT" sz="3200" b="1" dirty="0">
                <a:solidFill>
                  <a:srgbClr val="00863D"/>
                </a:solidFill>
              </a:rPr>
              <a:t>Tre </a:t>
            </a:r>
            <a:r>
              <a:rPr lang="it-IT" altLang="it-IT" sz="3200" b="1" dirty="0">
                <a:solidFill>
                  <a:srgbClr val="00863D"/>
                </a:solidFill>
              </a:rPr>
              <a:t>domande per il miglioramento dei risultati attesi </a:t>
            </a:r>
          </a:p>
        </p:txBody>
      </p:sp>
      <p:pic>
        <p:nvPicPr>
          <p:cNvPr id="5" name="Immagine 4" descr="Immagine che contiene interni, piccolo, sedendo, tenendo&#10;&#10;Descrizione generata automaticamente">
            <a:extLst>
              <a:ext uri="{FF2B5EF4-FFF2-40B4-BE49-F238E27FC236}">
                <a16:creationId xmlns:a16="http://schemas.microsoft.com/office/drawing/2014/main" id="{607D00AF-0E55-02D1-460A-E93146120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48" y="1445768"/>
            <a:ext cx="2372651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70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3FAF02-1432-DF1C-2D34-EDF38CEC9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174000"/>
            <a:ext cx="9289032" cy="720080"/>
          </a:xfrm>
        </p:spPr>
        <p:txBody>
          <a:bodyPr>
            <a:normAutofit/>
          </a:bodyPr>
          <a:lstStyle/>
          <a:p>
            <a:r>
              <a:rPr lang="en-US" dirty="0" err="1"/>
              <a:t>Dati</a:t>
            </a:r>
            <a:r>
              <a:rPr lang="en-US" dirty="0"/>
              <a:t> </a:t>
            </a:r>
            <a:r>
              <a:rPr lang="en-US" dirty="0" err="1"/>
              <a:t>dispersione</a:t>
            </a:r>
            <a:r>
              <a:rPr lang="en-US" dirty="0"/>
              <a:t> </a:t>
            </a:r>
            <a:r>
              <a:rPr lang="en-US" dirty="0" err="1"/>
              <a:t>eurostat</a:t>
            </a:r>
            <a:r>
              <a:rPr lang="en-US" dirty="0"/>
              <a:t> 2022</a:t>
            </a:r>
            <a:endParaRPr lang="it-IT" dirty="0"/>
          </a:p>
        </p:txBody>
      </p:sp>
      <p:pic>
        <p:nvPicPr>
          <p:cNvPr id="3" name="Google Shape;137;gff77f779d5_0_25">
            <a:extLst>
              <a:ext uri="{FF2B5EF4-FFF2-40B4-BE49-F238E27FC236}">
                <a16:creationId xmlns:a16="http://schemas.microsoft.com/office/drawing/2014/main" id="{72732507-D97B-15C5-0912-A6476192A084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271464" y="933156"/>
            <a:ext cx="8640960" cy="499168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139;gff77f779d5_0_25">
            <a:extLst>
              <a:ext uri="{FF2B5EF4-FFF2-40B4-BE49-F238E27FC236}">
                <a16:creationId xmlns:a16="http://schemas.microsoft.com/office/drawing/2014/main" id="{8E2C7B3E-411B-C804-E194-BCBE229F1393}"/>
              </a:ext>
            </a:extLst>
          </p:cNvPr>
          <p:cNvSpPr/>
          <p:nvPr/>
        </p:nvSpPr>
        <p:spPr>
          <a:xfrm rot="10800000">
            <a:off x="9912424" y="2132856"/>
            <a:ext cx="1364542" cy="75958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2939" tIns="82939" rIns="82939" bIns="82939" anchor="ctr" anchorCtr="0">
            <a:noAutofit/>
          </a:bodyPr>
          <a:lstStyle/>
          <a:p>
            <a:endParaRPr sz="1633"/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D7C59409-C723-FFEE-7FAE-E46661313910}"/>
              </a:ext>
            </a:extLst>
          </p:cNvPr>
          <p:cNvSpPr/>
          <p:nvPr/>
        </p:nvSpPr>
        <p:spPr>
          <a:xfrm>
            <a:off x="767408" y="2368631"/>
            <a:ext cx="9577064" cy="288032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16984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3FAF02-1432-DF1C-2D34-EDF38CEC9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174000"/>
            <a:ext cx="9289032" cy="720080"/>
          </a:xfrm>
        </p:spPr>
        <p:txBody>
          <a:bodyPr>
            <a:normAutofit/>
          </a:bodyPr>
          <a:lstStyle/>
          <a:p>
            <a:r>
              <a:rPr lang="en-US" dirty="0" err="1"/>
              <a:t>Dati</a:t>
            </a:r>
            <a:r>
              <a:rPr lang="en-US" dirty="0"/>
              <a:t> </a:t>
            </a:r>
            <a:r>
              <a:rPr lang="en-US" dirty="0" err="1"/>
              <a:t>dispersione</a:t>
            </a:r>
            <a:r>
              <a:rPr lang="en-US" dirty="0"/>
              <a:t> </a:t>
            </a:r>
            <a:r>
              <a:rPr lang="en-US" dirty="0" err="1"/>
              <a:t>implicita</a:t>
            </a:r>
            <a:r>
              <a:rPr lang="en-US" dirty="0"/>
              <a:t> (</a:t>
            </a:r>
            <a:r>
              <a:rPr lang="en-US" dirty="0" err="1"/>
              <a:t>INVALSI</a:t>
            </a:r>
            <a:r>
              <a:rPr lang="en-US" dirty="0"/>
              <a:t> 2022)</a:t>
            </a:r>
            <a:endParaRPr lang="it-IT" dirty="0"/>
          </a:p>
        </p:txBody>
      </p:sp>
      <p:pic>
        <p:nvPicPr>
          <p:cNvPr id="5" name="Google Shape;158;gff77f779d5_0_37">
            <a:extLst>
              <a:ext uri="{FF2B5EF4-FFF2-40B4-BE49-F238E27FC236}">
                <a16:creationId xmlns:a16="http://schemas.microsoft.com/office/drawing/2014/main" id="{69E9EBC1-F4DF-BAD3-EEF3-9BCDEA0E3581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832083" y="1052736"/>
            <a:ext cx="8412818" cy="4145709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6" name="Freccia in su 5">
            <a:extLst>
              <a:ext uri="{FF2B5EF4-FFF2-40B4-BE49-F238E27FC236}">
                <a16:creationId xmlns:a16="http://schemas.microsoft.com/office/drawing/2014/main" id="{F08981E3-72A1-6C8C-3FC3-BB4BD6349E5A}"/>
              </a:ext>
            </a:extLst>
          </p:cNvPr>
          <p:cNvSpPr/>
          <p:nvPr/>
        </p:nvSpPr>
        <p:spPr>
          <a:xfrm>
            <a:off x="2855640" y="4465189"/>
            <a:ext cx="648072" cy="1152128"/>
          </a:xfrm>
          <a:prstGeom prst="up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3CD1E44C-1CAA-45AF-CD54-6346EC02AC88}"/>
              </a:ext>
            </a:extLst>
          </p:cNvPr>
          <p:cNvSpPr/>
          <p:nvPr/>
        </p:nvSpPr>
        <p:spPr>
          <a:xfrm rot="5400000">
            <a:off x="1686250" y="3907867"/>
            <a:ext cx="2986852" cy="432048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465583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993FEF79-5A5D-F6A4-527E-B8C58B38B7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1464" y="1045973"/>
            <a:ext cx="9381744" cy="4766054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EC18C061-39AC-AF10-5565-8EF0E6F3BE31}"/>
              </a:ext>
            </a:extLst>
          </p:cNvPr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Analisi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</a:t>
            </a: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dati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</a:t>
            </a: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INVALSI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 </a:t>
            </a:r>
          </a:p>
        </p:txBody>
      </p:sp>
      <p:sp>
        <p:nvSpPr>
          <p:cNvPr id="8" name="Ovale 7">
            <a:extLst>
              <a:ext uri="{FF2B5EF4-FFF2-40B4-BE49-F238E27FC236}">
                <a16:creationId xmlns:a16="http://schemas.microsoft.com/office/drawing/2014/main" id="{C8ED0542-E8B3-FB37-B1EB-62FBD6F57937}"/>
              </a:ext>
            </a:extLst>
          </p:cNvPr>
          <p:cNvSpPr/>
          <p:nvPr/>
        </p:nvSpPr>
        <p:spPr>
          <a:xfrm>
            <a:off x="2855640" y="3212976"/>
            <a:ext cx="504056" cy="2376264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851055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DF52D406-4C22-5B10-6CD3-0520877606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688" y="1029958"/>
            <a:ext cx="10067543" cy="4933963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79A9180E-67DD-B568-6E0E-2067C432C376}"/>
              </a:ext>
            </a:extLst>
          </p:cNvPr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Analisi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</a:t>
            </a: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dati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</a:t>
            </a:r>
            <a:r>
              <a:rPr lang="en-US" altLang="it-IT" sz="2800" b="1" dirty="0" err="1">
                <a:solidFill>
                  <a:srgbClr val="009A44"/>
                </a:solidFill>
                <a:ea typeface="HP Simplified"/>
              </a:rPr>
              <a:t>INVALSI</a:t>
            </a:r>
            <a:r>
              <a:rPr lang="en-US" altLang="it-IT" sz="2800" b="1" dirty="0">
                <a:solidFill>
                  <a:srgbClr val="009A44"/>
                </a:solidFill>
                <a:ea typeface="HP Simplified"/>
              </a:rPr>
              <a:t>  </a:t>
            </a:r>
          </a:p>
        </p:txBody>
      </p:sp>
      <p:sp>
        <p:nvSpPr>
          <p:cNvPr id="8" name="Ovale 7">
            <a:extLst>
              <a:ext uri="{FF2B5EF4-FFF2-40B4-BE49-F238E27FC236}">
                <a16:creationId xmlns:a16="http://schemas.microsoft.com/office/drawing/2014/main" id="{60152A09-B467-0FBD-C233-2CD81CF71D8D}"/>
              </a:ext>
            </a:extLst>
          </p:cNvPr>
          <p:cNvSpPr/>
          <p:nvPr/>
        </p:nvSpPr>
        <p:spPr>
          <a:xfrm>
            <a:off x="2567608" y="3278944"/>
            <a:ext cx="548640" cy="2543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3699549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5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6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7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2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3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4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5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6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21</TotalTime>
  <Words>1700</Words>
  <Application>Microsoft Office PowerPoint</Application>
  <PresentationFormat>Widescreen</PresentationFormat>
  <Paragraphs>236</Paragraphs>
  <Slides>35</Slides>
  <Notes>1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6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5</vt:i4>
      </vt:variant>
    </vt:vector>
  </HeadingPairs>
  <TitlesOfParts>
    <vt:vector size="51" baseType="lpstr">
      <vt:lpstr>Arial</vt:lpstr>
      <vt:lpstr>Bahnschrift SemiBold</vt:lpstr>
      <vt:lpstr>Calibri</vt:lpstr>
      <vt:lpstr>Georgia</vt:lpstr>
      <vt:lpstr>HP Simplified</vt:lpstr>
      <vt:lpstr>Lucida Grande</vt:lpstr>
      <vt:lpstr>Open Sans</vt:lpstr>
      <vt:lpstr>Symbol</vt:lpstr>
      <vt:lpstr>Times New Roman</vt:lpstr>
      <vt:lpstr>Title with content</vt:lpstr>
      <vt:lpstr>3_Title with content</vt:lpstr>
      <vt:lpstr>2_Title with content</vt:lpstr>
      <vt:lpstr>5_Title with content</vt:lpstr>
      <vt:lpstr>6_Title with content</vt:lpstr>
      <vt:lpstr>7_Title with content</vt:lpstr>
      <vt:lpstr>Diapositiva think-cell</vt:lpstr>
      <vt:lpstr>Presentazione standard di PowerPoint</vt:lpstr>
      <vt:lpstr>Alcune risposte a partire da «La scuola mediterranea»</vt:lpstr>
      <vt:lpstr>Risultati attesi (PNRR Decreto 170/2022) </vt:lpstr>
      <vt:lpstr>Target (PNRR – Istruzione operative)</vt:lpstr>
      <vt:lpstr>Presentazione standard di PowerPoint</vt:lpstr>
      <vt:lpstr>Dati dispersione eurostat 2022</vt:lpstr>
      <vt:lpstr>Dati dispersione implicita (INVALSI 2022)</vt:lpstr>
      <vt:lpstr>Presentazione standard di PowerPoint</vt:lpstr>
      <vt:lpstr>Presentazione standard di PowerPoint</vt:lpstr>
      <vt:lpstr>Presentazione standard di PowerPoint</vt:lpstr>
      <vt:lpstr>PNRR – RAV e priorità di miglioramento</vt:lpstr>
      <vt:lpstr>Cosa possiamo fare per migliorare?</vt:lpstr>
      <vt:lpstr>Analisi diacronica</vt:lpstr>
      <vt:lpstr>Analisi di contesto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Risultati e processi attesi - D.M. 170/2022 </vt:lpstr>
      <vt:lpstr>D.M. 170/2022 – Istruzioni operativ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UR</dc:creator>
  <cp:lastModifiedBy>Previtali Damiano</cp:lastModifiedBy>
  <cp:revision>527</cp:revision>
  <cp:lastPrinted>2022-10-04T10:54:07Z</cp:lastPrinted>
  <dcterms:created xsi:type="dcterms:W3CDTF">2018-05-21T10:03:44Z</dcterms:created>
  <dcterms:modified xsi:type="dcterms:W3CDTF">2023-01-15T08:54:29Z</dcterms:modified>
</cp:coreProperties>
</file>